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5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689" r:id="rId3"/>
    <p:sldMasterId id="2147483698" r:id="rId4"/>
  </p:sldMasterIdLst>
  <p:notesMasterIdLst>
    <p:notesMasterId r:id="rId20"/>
  </p:notesMasterIdLst>
  <p:sldIdLst>
    <p:sldId id="259" r:id="rId5"/>
    <p:sldId id="258" r:id="rId6"/>
    <p:sldId id="260" r:id="rId7"/>
    <p:sldId id="261" r:id="rId8"/>
    <p:sldId id="303" r:id="rId9"/>
    <p:sldId id="304" r:id="rId10"/>
    <p:sldId id="308" r:id="rId11"/>
    <p:sldId id="306" r:id="rId12"/>
    <p:sldId id="310" r:id="rId13"/>
    <p:sldId id="302" r:id="rId14"/>
    <p:sldId id="301" r:id="rId15"/>
    <p:sldId id="297" r:id="rId16"/>
    <p:sldId id="307" r:id="rId17"/>
    <p:sldId id="309" r:id="rId18"/>
    <p:sldId id="311" r:id="rId19"/>
  </p:sldIdLst>
  <p:sldSz cx="12192000" cy="6858000"/>
  <p:notesSz cx="6735763" cy="9866313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11" autoAdjust="0"/>
    <p:restoredTop sz="94662" autoAdjust="0"/>
  </p:normalViewPr>
  <p:slideViewPr>
    <p:cSldViewPr snapToGrid="0">
      <p:cViewPr varScale="1">
        <p:scale>
          <a:sx n="70" d="100"/>
          <a:sy n="70" d="100"/>
        </p:scale>
        <p:origin x="660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0636618048418"/>
          <c:y val="3.0746648601852399E-2"/>
          <c:w val="0.645738878046339"/>
          <c:h val="0.84200580411363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A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SRS 2007-2009</c:v>
                </c:pt>
                <c:pt idx="1">
                  <c:v>SRS 2010- 2012</c:v>
                </c:pt>
                <c:pt idx="2">
                  <c:v>SRS 2011-201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12</c:v>
                </c:pt>
                <c:pt idx="1">
                  <c:v>178</c:v>
                </c:pt>
                <c:pt idx="2">
                  <c:v>167</c:v>
                </c:pt>
              </c:numCache>
            </c:numRef>
          </c:val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 BIHAR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SRS 2007-2009</c:v>
                </c:pt>
                <c:pt idx="1">
                  <c:v>SRS 2010- 2012</c:v>
                </c:pt>
                <c:pt idx="2">
                  <c:v>SRS 2011-201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61</c:v>
                </c:pt>
                <c:pt idx="1">
                  <c:v>219</c:v>
                </c:pt>
                <c:pt idx="2">
                  <c:v>2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5265120"/>
        <c:axId val="285265512"/>
      </c:barChart>
      <c:catAx>
        <c:axId val="2852651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85265512"/>
        <c:crosses val="autoZero"/>
        <c:auto val="1"/>
        <c:lblAlgn val="ctr"/>
        <c:lblOffset val="100"/>
        <c:noMultiLvlLbl val="0"/>
      </c:catAx>
      <c:valAx>
        <c:axId val="2852655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85265120"/>
        <c:crosses val="autoZero"/>
        <c:crossBetween val="between"/>
      </c:valAx>
    </c:plotArea>
    <c:legend>
      <c:legendPos val="r"/>
      <c:layout/>
      <c:overlay val="1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657132501295264E-2"/>
          <c:y val="4.2151587063359204E-2"/>
          <c:w val="0.72891840526679796"/>
          <c:h val="0.854718303472045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A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SRS 2011</c:v>
                </c:pt>
                <c:pt idx="1">
                  <c:v>SRS 2012</c:v>
                </c:pt>
                <c:pt idx="2">
                  <c:v>SRS 201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3</c:v>
                </c:pt>
                <c:pt idx="1">
                  <c:v>29</c:v>
                </c:pt>
                <c:pt idx="2">
                  <c:v>29</c:v>
                </c:pt>
              </c:numCache>
            </c:numRef>
          </c:val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BIHAR</c:v>
                </c:pt>
              </c:strCache>
            </c:strRef>
          </c:tx>
          <c:invertIfNegative val="0"/>
          <c:cat>
            <c:strRef>
              <c:f>Sheet1!$A$2:$A$4</c:f>
              <c:strCache>
                <c:ptCount val="3"/>
                <c:pt idx="0">
                  <c:v>SRS 2011</c:v>
                </c:pt>
                <c:pt idx="1">
                  <c:v>SRS 2012</c:v>
                </c:pt>
                <c:pt idx="2">
                  <c:v>SRS 2013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1</c:v>
                </c:pt>
                <c:pt idx="1">
                  <c:v>28</c:v>
                </c:pt>
                <c:pt idx="2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5230168"/>
        <c:axId val="295230560"/>
      </c:barChart>
      <c:catAx>
        <c:axId val="2952301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95230560"/>
        <c:crosses val="autoZero"/>
        <c:auto val="1"/>
        <c:lblAlgn val="ctr"/>
        <c:lblOffset val="100"/>
        <c:noMultiLvlLbl val="0"/>
      </c:catAx>
      <c:valAx>
        <c:axId val="2952305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95230168"/>
        <c:crosses val="autoZero"/>
        <c:crossBetween val="between"/>
      </c:valAx>
    </c:plotArea>
    <c:legend>
      <c:legendPos val="r"/>
      <c:layout/>
      <c:overlay val="1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22B637-87B8-422E-8579-94B0F9864714}" type="datetimeFigureOut">
              <a:rPr lang="en-US" smtClean="0"/>
              <a:t>03-Jul-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0" y="4686300"/>
            <a:ext cx="5389563" cy="44402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2E4316-6C23-4381-9781-1BDD6621F7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535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B458401-0001-4ECF-827E-26E08DF79B9D}" type="slidenum">
              <a:rPr lang="en-US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IN" smtClean="0"/>
          </a:p>
        </p:txBody>
      </p:sp>
      <p:sp>
        <p:nvSpPr>
          <p:cNvPr id="3174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6" rIns="91431" bIns="45716" anchor="b"/>
          <a:lstStyle/>
          <a:p>
            <a:pPr algn="r"/>
            <a:fld id="{EFE56B44-E3F6-48EB-96FE-FA7CEA0FF6C8}" type="slidenum">
              <a:rPr lang="en-US" sz="1200">
                <a:latin typeface="Calibri" pitchFamily="34" charset="0"/>
              </a:rPr>
              <a:pPr algn="r"/>
              <a:t>15</a:t>
            </a:fld>
            <a:endParaRPr lang="en-US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29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524" tIns="1920096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7" y="2459708"/>
            <a:ext cx="5520267" cy="113006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7" y="3629787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7" y="5408087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51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32"/>
            <a:r>
              <a:rPr lang="en-US" dirty="0" smtClean="0">
                <a:solidFill>
                  <a:srgbClr val="FFFFFF"/>
                </a:solidFill>
              </a:rPr>
              <a:t>Month DD, YYYY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80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448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448"/>
              </a:spcBef>
              <a:spcAft>
                <a:spcPts val="0"/>
              </a:spcAft>
              <a:defRPr sz="1700" baseline="0"/>
            </a:lvl2pPr>
            <a:lvl3pPr>
              <a:spcBef>
                <a:spcPts val="44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47" indent="-228578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09" indent="-228578">
              <a:spcBef>
                <a:spcPts val="44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7" y="0"/>
            <a:ext cx="7317316" cy="6858000"/>
          </a:xfrm>
        </p:spPr>
        <p:txBody>
          <a:bodyPr tIns="822898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4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rtlCol="0" anchor="ctr"/>
          <a:lstStyle/>
          <a:p>
            <a:pPr algn="ctr" defTabSz="914332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6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66" tIns="1828664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8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76251" y="2100187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785787" y="2100187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095319" y="2100187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0404847" y="2100187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8" y="629575"/>
            <a:ext cx="11129433" cy="86219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131019" y="2100187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5440551" y="2100187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8750087" y="2100187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76251" y="3566331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3785787" y="3566331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7095319" y="3566331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0404847" y="3566331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2131019" y="3566331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5440551" y="3566331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750087" y="3566331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476251" y="5032479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3785787" y="5032479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7095319" y="5032479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10404847" y="5032479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2131019" y="5032479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5440551" y="5032479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8750087" y="5032479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2300727" y="1123098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7903859" y="992375"/>
            <a:ext cx="1211420" cy="1211420"/>
          </a:xfrm>
          <a:noFill/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8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1619251"/>
            <a:ext cx="1828800" cy="1828800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2384317" y="2594038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76251" y="3710517"/>
            <a:ext cx="1828800" cy="1828800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384317" y="4685302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4257695" y="1619251"/>
            <a:ext cx="1828800" cy="1828800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165761" y="2594038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4257695" y="3710517"/>
            <a:ext cx="1828800" cy="1828800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165761" y="4685302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8021012" y="1619251"/>
            <a:ext cx="1828800" cy="1828800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9929081" y="2594038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8021012" y="3710517"/>
            <a:ext cx="1828800" cy="1828800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9929081" y="4685302"/>
            <a:ext cx="1740339" cy="85575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86838" y="629575"/>
            <a:ext cx="11129433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5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399775"/>
            <a:ext cx="11140016" cy="195234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76251" y="3928615"/>
            <a:ext cx="11140016" cy="465864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7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7957040" y="1716789"/>
            <a:ext cx="3656869" cy="2084751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4221793" y="1723747"/>
            <a:ext cx="3653184" cy="2077788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87217" y="1720580"/>
            <a:ext cx="3653967" cy="2080955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6" y="629578"/>
            <a:ext cx="11106151" cy="697577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145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7625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800"/>
              </a:spcAft>
              <a:buNone/>
              <a:defRPr sz="37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78" indent="-228578">
              <a:spcBef>
                <a:spcPts val="0"/>
              </a:spcBef>
              <a:buFont typeface="Wingdings" panose="05000000000000000000" pitchFamily="2" charset="2"/>
              <a:buChar char="§"/>
              <a:defRPr sz="1300" baseline="0"/>
            </a:lvl2pPr>
            <a:lvl3pPr marL="455039" indent="-228578">
              <a:buFont typeface="Arial" panose="020B0604020202020204" pitchFamily="34" charset="0"/>
              <a:buChar char="•"/>
              <a:tabLst>
                <a:tab pos="533347" algn="l"/>
              </a:tabLst>
              <a:defRPr sz="13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85085" y="1522792"/>
            <a:ext cx="11140016" cy="624061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9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11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6217592" y="2338765"/>
            <a:ext cx="2487168" cy="1987296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346921" y="2338765"/>
            <a:ext cx="2487168" cy="1987296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476251" y="2338765"/>
            <a:ext cx="2487168" cy="1987296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6" y="629578"/>
            <a:ext cx="11106151" cy="697577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9110049" y="2338765"/>
            <a:ext cx="2487168" cy="1987296"/>
          </a:xfrm>
          <a:noFill/>
        </p:spPr>
        <p:txBody>
          <a:bodyPr tIns="91434"/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334692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800"/>
              </a:spcAft>
              <a:buNone/>
              <a:defRPr sz="37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78" indent="-228578">
              <a:spcBef>
                <a:spcPts val="0"/>
              </a:spcBef>
              <a:buFont typeface="Wingdings" panose="05000000000000000000" pitchFamily="2" charset="2"/>
              <a:buChar char="§"/>
              <a:defRPr sz="1300" baseline="0"/>
            </a:lvl2pPr>
            <a:lvl3pPr marL="455039" indent="-228578">
              <a:buFont typeface="Arial" panose="020B0604020202020204" pitchFamily="34" charset="0"/>
              <a:buChar char="•"/>
              <a:tabLst/>
              <a:defRPr sz="13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217592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800"/>
              </a:spcAft>
              <a:buNone/>
              <a:defRPr sz="37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78" indent="-228578">
              <a:spcBef>
                <a:spcPts val="0"/>
              </a:spcBef>
              <a:buFont typeface="Wingdings" panose="05000000000000000000" pitchFamily="2" charset="2"/>
              <a:buChar char="§"/>
              <a:defRPr sz="1300" baseline="0"/>
            </a:lvl2pPr>
            <a:lvl3pPr marL="455039" indent="-228578">
              <a:buFont typeface="Arial" panose="020B0604020202020204" pitchFamily="34" charset="0"/>
              <a:buChar char="•"/>
              <a:tabLst/>
              <a:defRPr sz="13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9122241" y="4504336"/>
            <a:ext cx="2474976" cy="173724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800"/>
              </a:spcAft>
              <a:buNone/>
              <a:defRPr sz="37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228578" indent="-228578">
              <a:spcBef>
                <a:spcPts val="0"/>
              </a:spcBef>
              <a:buFont typeface="Wingdings" panose="05000000000000000000" pitchFamily="2" charset="2"/>
              <a:buChar char="§"/>
              <a:defRPr sz="1300" baseline="0"/>
            </a:lvl2pPr>
            <a:lvl3pPr marL="455039" indent="-228578">
              <a:buFont typeface="Arial" panose="020B0604020202020204" pitchFamily="34" charset="0"/>
              <a:buChar char="•"/>
              <a:tabLst/>
              <a:defRPr sz="13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51380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477000"/>
            <a:ext cx="2844800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A9B088-DE05-436E-9126-99D933977B0D}" type="datetimeFigureOut">
              <a:rPr lang="en-US"/>
              <a:pPr>
                <a:defRPr/>
              </a:pPr>
              <a:t>03-Jul-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520018" y="6477000"/>
            <a:ext cx="7344833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0D07E3-1D3E-4B6B-8BAD-41F0E710B7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435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 flipH="1">
            <a:off x="1016000" y="3384550"/>
            <a:ext cx="11144251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sp>
        <p:nvSpPr>
          <p:cNvPr id="29708" name="Title Placeholder 1"/>
          <p:cNvSpPr>
            <a:spLocks noGrp="1"/>
          </p:cNvSpPr>
          <p:nvPr>
            <p:ph type="ctrTitle"/>
          </p:nvPr>
        </p:nvSpPr>
        <p:spPr>
          <a:xfrm>
            <a:off x="335360" y="1484784"/>
            <a:ext cx="10363200" cy="990600"/>
          </a:xfrm>
          <a:effectLst>
            <a:outerShdw blurRad="50800" dist="38100" dir="2700000" sx="16000" sy="16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404813" indent="0" algn="l">
              <a:defRPr sz="40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705" name="Text Placeholder 2"/>
          <p:cNvSpPr>
            <a:spLocks noGrp="1"/>
          </p:cNvSpPr>
          <p:nvPr>
            <p:ph type="subTitle" idx="1"/>
          </p:nvPr>
        </p:nvSpPr>
        <p:spPr>
          <a:xfrm>
            <a:off x="335360" y="2492896"/>
            <a:ext cx="10761760" cy="720080"/>
          </a:xfrm>
        </p:spPr>
        <p:txBody>
          <a:bodyPr anchor="ctr">
            <a:noAutofit/>
          </a:bodyPr>
          <a:lstStyle>
            <a:lvl1pPr marL="404813" indent="0" algn="l">
              <a:buFont typeface="Wingdings" pitchFamily="2" charset="2"/>
              <a:buNone/>
              <a:defRPr sz="2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0825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2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6767" y="838200"/>
            <a:ext cx="10972800" cy="52578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6527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476252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9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2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6767" y="838200"/>
            <a:ext cx="10972800" cy="48768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0683" y="5736682"/>
            <a:ext cx="11049076" cy="428625"/>
          </a:xfrm>
          <a:solidFill>
            <a:srgbClr val="E46C0A"/>
          </a:solidFill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956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9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1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9" y="3501614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accent4"/>
                </a:solidFill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6" y="5413250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9" y="4657351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32"/>
            <a:r>
              <a:rPr lang="en-US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Month DD, YYYY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9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353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476252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6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9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2888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6279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2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1403" y="838200"/>
            <a:ext cx="5384800" cy="5129882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838200"/>
            <a:ext cx="5384800" cy="5129882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6376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2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0"/>
          </p:nvPr>
        </p:nvSpPr>
        <p:spPr>
          <a:xfrm>
            <a:off x="6245844" y="838200"/>
            <a:ext cx="5695939" cy="5142618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591404" y="838202"/>
            <a:ext cx="5504597" cy="5139071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2752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476252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" name="Date Placeholder 3"/>
          <p:cNvSpPr txBox="1">
            <a:spLocks/>
          </p:cNvSpPr>
          <p:nvPr/>
        </p:nvSpPr>
        <p:spPr>
          <a:xfrm>
            <a:off x="4595285" y="6477000"/>
            <a:ext cx="2995083" cy="304800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C722D6C-661F-4D2F-97A8-9581E444D6D5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7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sp>
        <p:nvSpPr>
          <p:cNvPr id="10" name="TextBox 13"/>
          <p:cNvSpPr txBox="1">
            <a:spLocks noChangeArrowheads="1"/>
          </p:cNvSpPr>
          <p:nvPr userDrawn="1"/>
        </p:nvSpPr>
        <p:spPr bwMode="auto">
          <a:xfrm>
            <a:off x="349253" y="6645275"/>
            <a:ext cx="1075615" cy="10772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 smtClean="0">
                <a:solidFill>
                  <a:srgbClr val="000000"/>
                </a:solidFill>
              </a:rPr>
              <a:t>Reliance Industries Limited</a:t>
            </a:r>
          </a:p>
        </p:txBody>
      </p:sp>
      <p:pic>
        <p:nvPicPr>
          <p:cNvPr id="11" name="Picture 1603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8838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604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8838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Clr>
                <a:schemeClr val="accent4">
                  <a:lumMod val="50000"/>
                </a:schemeClr>
              </a:buClr>
              <a:defRPr sz="1800"/>
            </a:lvl1pPr>
            <a:lvl2pPr>
              <a:buClr>
                <a:schemeClr val="accent4">
                  <a:lumMod val="50000"/>
                </a:schemeClr>
              </a:buClr>
              <a:defRPr sz="1800"/>
            </a:lvl2pPr>
            <a:lvl3pPr>
              <a:buClr>
                <a:schemeClr val="accent4">
                  <a:lumMod val="50000"/>
                </a:schemeClr>
              </a:buClr>
              <a:defRPr sz="1800"/>
            </a:lvl3pPr>
            <a:lvl4pPr>
              <a:buClr>
                <a:schemeClr val="accent4">
                  <a:lumMod val="50000"/>
                </a:schemeClr>
              </a:buClr>
              <a:defRPr sz="1800"/>
            </a:lvl4pPr>
            <a:lvl5pPr>
              <a:buClr>
                <a:schemeClr val="accent4">
                  <a:lumMod val="50000"/>
                </a:schemeClr>
              </a:buClr>
              <a:defRPr sz="180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366433" y="6692900"/>
            <a:ext cx="2082800" cy="1079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165420" y="6573838"/>
            <a:ext cx="664633" cy="1841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61E968C-ABFE-47D0-BC42-BA243F0F5D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5243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08719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Full width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685801"/>
          </a:xfrm>
        </p:spPr>
        <p:txBody>
          <a:bodyPr anchor="t"/>
          <a:lstStyle>
            <a:lvl1pPr>
              <a:defRPr b="1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10972800" cy="4343400"/>
          </a:xfrm>
        </p:spPr>
        <p:txBody>
          <a:bodyPr/>
          <a:lstStyle>
            <a:lvl1pPr marL="228551" indent="-228551">
              <a:buFont typeface="Arial"/>
              <a:buChar char="•"/>
              <a:defRPr sz="2449" b="0" i="0">
                <a:latin typeface="Arial"/>
                <a:cs typeface="Arial"/>
              </a:defRPr>
            </a:lvl1pPr>
            <a:lvl2pPr marL="457104" indent="-228551">
              <a:buFont typeface="Arial"/>
              <a:buChar char="•"/>
              <a:defRPr sz="2041" b="0" i="0">
                <a:latin typeface="Arial"/>
                <a:cs typeface="Arial"/>
              </a:defRPr>
            </a:lvl2pPr>
            <a:lvl3pPr marL="685654" indent="-228551">
              <a:buFont typeface="Arial"/>
              <a:buChar char="•"/>
              <a:defRPr b="0" i="0">
                <a:latin typeface="Arial"/>
                <a:cs typeface="Arial"/>
              </a:defRPr>
            </a:lvl3pPr>
            <a:lvl4pPr marL="914206" indent="-228551">
              <a:defRPr b="0" i="0">
                <a:latin typeface="Arial"/>
                <a:cs typeface="Arial"/>
              </a:defRPr>
            </a:lvl4pPr>
            <a:lvl5pPr marL="1142757" indent="-228551">
              <a:defRPr b="0" i="0"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22123"/>
            <a:ext cx="2438400" cy="182880"/>
          </a:xfrm>
          <a:prstGeom prst="rect">
            <a:avLst/>
          </a:prstGeom>
        </p:spPr>
        <p:txBody>
          <a:bodyPr/>
          <a:lstStyle>
            <a:lvl1pPr>
              <a:defRPr sz="816"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D0D2D0B-B28B-4122-B201-A6D8B38922C6}" type="datetime4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July 3, 20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609600" y="6141150"/>
            <a:ext cx="487680" cy="182880"/>
          </a:xfrm>
          <a:prstGeom prst="rect">
            <a:avLst/>
          </a:prstGeom>
        </p:spPr>
        <p:txBody>
          <a:bodyPr/>
          <a:lstStyle>
            <a:lvl1pPr>
              <a:defRPr sz="816"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3183C4C-EBF1-1A4D-90EC-74EBA7EEE60F}" type="slidenum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609603" y="6505003"/>
            <a:ext cx="3860800" cy="182880"/>
          </a:xfrm>
          <a:prstGeom prst="rect">
            <a:avLst/>
          </a:prstGeom>
        </p:spPr>
        <p:txBody>
          <a:bodyPr/>
          <a:lstStyle>
            <a:lvl1pPr>
              <a:defRPr sz="816" b="0" i="0"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0493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Full width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1"/>
            <a:ext cx="10972800" cy="685801"/>
          </a:xfrm>
        </p:spPr>
        <p:txBody>
          <a:bodyPr anchor="t"/>
          <a:lstStyle>
            <a:lvl1pPr>
              <a:defRPr b="1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10972800" cy="4343400"/>
          </a:xfrm>
        </p:spPr>
        <p:txBody>
          <a:bodyPr/>
          <a:lstStyle>
            <a:lvl1pPr marL="228551" indent="-228551">
              <a:buFont typeface="Arial"/>
              <a:buChar char="•"/>
              <a:defRPr sz="2449" b="0" i="0">
                <a:latin typeface="Arial"/>
                <a:cs typeface="Arial"/>
              </a:defRPr>
            </a:lvl1pPr>
            <a:lvl2pPr marL="457104" indent="-228551">
              <a:buFont typeface="Arial"/>
              <a:buChar char="•"/>
              <a:defRPr sz="2041" b="0" i="0">
                <a:latin typeface="Arial"/>
                <a:cs typeface="Arial"/>
              </a:defRPr>
            </a:lvl2pPr>
            <a:lvl3pPr marL="685654" indent="-228551">
              <a:buFont typeface="Arial"/>
              <a:buChar char="•"/>
              <a:defRPr b="0" i="0">
                <a:latin typeface="Arial"/>
                <a:cs typeface="Arial"/>
              </a:defRPr>
            </a:lvl3pPr>
            <a:lvl4pPr marL="914206" indent="-228551">
              <a:defRPr b="0" i="0">
                <a:latin typeface="Arial"/>
                <a:cs typeface="Arial"/>
              </a:defRPr>
            </a:lvl4pPr>
            <a:lvl5pPr marL="1142757" indent="-228551">
              <a:defRPr b="0" i="0"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22123"/>
            <a:ext cx="2438400" cy="182880"/>
          </a:xfrm>
          <a:prstGeom prst="rect">
            <a:avLst/>
          </a:prstGeom>
        </p:spPr>
        <p:txBody>
          <a:bodyPr/>
          <a:lstStyle>
            <a:lvl1pPr>
              <a:defRPr sz="816"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D0D2D0B-B28B-4122-B201-A6D8B38922C6}" type="datetime4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July 3, 2015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609600" y="6141150"/>
            <a:ext cx="487680" cy="182880"/>
          </a:xfrm>
          <a:prstGeom prst="rect">
            <a:avLst/>
          </a:prstGeom>
        </p:spPr>
        <p:txBody>
          <a:bodyPr/>
          <a:lstStyle>
            <a:lvl1pPr>
              <a:defRPr sz="816"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3183C4C-EBF1-1A4D-90EC-74EBA7EEE60F}" type="slidenum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609603" y="6505003"/>
            <a:ext cx="3860800" cy="182880"/>
          </a:xfrm>
          <a:prstGeom prst="rect">
            <a:avLst/>
          </a:prstGeom>
        </p:spPr>
        <p:txBody>
          <a:bodyPr/>
          <a:lstStyle>
            <a:lvl1pPr>
              <a:defRPr sz="816" b="0" i="0"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814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 flipH="1">
            <a:off x="1016000" y="3384550"/>
            <a:ext cx="11144251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sp>
        <p:nvSpPr>
          <p:cNvPr id="29708" name="Title Placeholder 1"/>
          <p:cNvSpPr>
            <a:spLocks noGrp="1"/>
          </p:cNvSpPr>
          <p:nvPr>
            <p:ph type="ctrTitle"/>
          </p:nvPr>
        </p:nvSpPr>
        <p:spPr>
          <a:xfrm>
            <a:off x="335360" y="1484784"/>
            <a:ext cx="10363200" cy="990600"/>
          </a:xfrm>
          <a:effectLst>
            <a:outerShdw blurRad="50800" dist="38100" dir="2700000" sx="16000" sy="16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404813" indent="0" algn="l">
              <a:defRPr sz="40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705" name="Text Placeholder 2"/>
          <p:cNvSpPr>
            <a:spLocks noGrp="1"/>
          </p:cNvSpPr>
          <p:nvPr>
            <p:ph type="subTitle" idx="1"/>
          </p:nvPr>
        </p:nvSpPr>
        <p:spPr>
          <a:xfrm>
            <a:off x="335360" y="2492896"/>
            <a:ext cx="10761760" cy="720080"/>
          </a:xfrm>
        </p:spPr>
        <p:txBody>
          <a:bodyPr anchor="ctr">
            <a:noAutofit/>
          </a:bodyPr>
          <a:lstStyle>
            <a:lvl1pPr marL="404813" indent="0" algn="l">
              <a:buFont typeface="Wingdings" pitchFamily="2" charset="2"/>
              <a:buNone/>
              <a:defRPr sz="2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037796" y="4017974"/>
            <a:ext cx="4786487" cy="1979654"/>
            <a:chOff x="5278347" y="4017974"/>
            <a:chExt cx="3589865" cy="1979654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4549"/>
            <a:stretch/>
          </p:blipFill>
          <p:spPr>
            <a:xfrm>
              <a:off x="6511528" y="4017974"/>
              <a:ext cx="1205393" cy="1389872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 userDrawn="1"/>
          </p:nvSpPr>
          <p:spPr>
            <a:xfrm>
              <a:off x="5278347" y="5412853"/>
              <a:ext cx="35898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IN" sz="1600" b="1" dirty="0" smtClean="0">
                  <a:solidFill>
                    <a:srgbClr val="FFC000"/>
                  </a:solidFill>
                </a:rPr>
                <a:t>CARE Indi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IN" sz="1600" b="1" dirty="0" smtClean="0">
                  <a:solidFill>
                    <a:srgbClr val="FFC000"/>
                  </a:solidFill>
                </a:rPr>
                <a:t>(</a:t>
              </a:r>
              <a:r>
                <a:rPr lang="en-IN" sz="1600" b="1" dirty="0">
                  <a:solidFill>
                    <a:srgbClr val="FFC000"/>
                  </a:solidFill>
                </a:rPr>
                <a:t>M</a:t>
              </a:r>
              <a:r>
                <a:rPr lang="en-IN" sz="1600" b="1" dirty="0" smtClean="0">
                  <a:solidFill>
                    <a:srgbClr val="FFC000"/>
                  </a:solidFill>
                </a:rPr>
                <a:t>ember of CARE International)</a:t>
              </a:r>
              <a:endParaRPr lang="en-IN" sz="1600" b="1" dirty="0">
                <a:solidFill>
                  <a:srgbClr val="FFC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95663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6767" y="838200"/>
            <a:ext cx="10972800" cy="52578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303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34" tIns="685750" rIns="365734" bIns="1828664"/>
          <a:lstStyle>
            <a:lvl1pPr marL="0" indent="0">
              <a:lnSpc>
                <a:spcPts val="4533"/>
              </a:lnSpc>
              <a:spcBef>
                <a:spcPts val="800"/>
              </a:spcBef>
              <a:buNone/>
              <a:defRPr lang="en-US" sz="4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9075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9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2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6767" y="838200"/>
            <a:ext cx="10972800" cy="48768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0683" y="5736682"/>
            <a:ext cx="11049076" cy="428625"/>
          </a:xfrm>
          <a:solidFill>
            <a:srgbClr val="E46C0A"/>
          </a:solidFill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437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6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9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32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1911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1403" y="838200"/>
            <a:ext cx="5384800" cy="5129882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838200"/>
            <a:ext cx="5384800" cy="5129882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8790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0"/>
          </p:nvPr>
        </p:nvSpPr>
        <p:spPr>
          <a:xfrm>
            <a:off x="6245842" y="838200"/>
            <a:ext cx="5695939" cy="5142618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591404" y="838202"/>
            <a:ext cx="5504597" cy="5139071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4562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" name="Date Placeholder 3"/>
          <p:cNvSpPr txBox="1">
            <a:spLocks/>
          </p:cNvSpPr>
          <p:nvPr/>
        </p:nvSpPr>
        <p:spPr>
          <a:xfrm>
            <a:off x="4595285" y="6477000"/>
            <a:ext cx="2995083" cy="304800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C722D6C-661F-4D2F-97A8-9581E444D6D5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7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sp>
        <p:nvSpPr>
          <p:cNvPr id="10" name="TextBox 13"/>
          <p:cNvSpPr txBox="1">
            <a:spLocks noChangeArrowheads="1"/>
          </p:cNvSpPr>
          <p:nvPr userDrawn="1"/>
        </p:nvSpPr>
        <p:spPr bwMode="auto">
          <a:xfrm>
            <a:off x="349253" y="6645275"/>
            <a:ext cx="1075615" cy="10772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 smtClean="0">
                <a:solidFill>
                  <a:srgbClr val="000000"/>
                </a:solidFill>
              </a:rPr>
              <a:t>Reliance Industries Limited</a:t>
            </a:r>
          </a:p>
        </p:txBody>
      </p:sp>
      <p:pic>
        <p:nvPicPr>
          <p:cNvPr id="11" name="Picture 1603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8838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604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8838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Clr>
                <a:schemeClr val="accent4">
                  <a:lumMod val="50000"/>
                </a:schemeClr>
              </a:buClr>
              <a:defRPr sz="1800"/>
            </a:lvl1pPr>
            <a:lvl2pPr>
              <a:buClr>
                <a:schemeClr val="accent4">
                  <a:lumMod val="50000"/>
                </a:schemeClr>
              </a:buClr>
              <a:defRPr sz="1800"/>
            </a:lvl2pPr>
            <a:lvl3pPr>
              <a:buClr>
                <a:schemeClr val="accent4">
                  <a:lumMod val="50000"/>
                </a:schemeClr>
              </a:buClr>
              <a:defRPr sz="1800"/>
            </a:lvl3pPr>
            <a:lvl4pPr>
              <a:buClr>
                <a:schemeClr val="accent4">
                  <a:lumMod val="50000"/>
                </a:schemeClr>
              </a:buClr>
              <a:defRPr sz="1800"/>
            </a:lvl4pPr>
            <a:lvl5pPr>
              <a:buClr>
                <a:schemeClr val="accent4">
                  <a:lumMod val="50000"/>
                </a:schemeClr>
              </a:buClr>
              <a:defRPr sz="180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366433" y="6692900"/>
            <a:ext cx="2082800" cy="1079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165420" y="6573838"/>
            <a:ext cx="664633" cy="1841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61E968C-ABFE-47D0-BC42-BA243F0F5D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4975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0"/>
          <p:cNvCxnSpPr>
            <a:cxnSpLocks noChangeShapeType="1"/>
          </p:cNvCxnSpPr>
          <p:nvPr userDrawn="1"/>
        </p:nvCxnSpPr>
        <p:spPr bwMode="auto">
          <a:xfrm flipH="1">
            <a:off x="1016000" y="3384550"/>
            <a:ext cx="11144251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sp>
        <p:nvSpPr>
          <p:cNvPr id="29708" name="Title Placeholder 1"/>
          <p:cNvSpPr>
            <a:spLocks noGrp="1"/>
          </p:cNvSpPr>
          <p:nvPr>
            <p:ph type="ctrTitle"/>
          </p:nvPr>
        </p:nvSpPr>
        <p:spPr>
          <a:xfrm>
            <a:off x="335360" y="1484784"/>
            <a:ext cx="10363200" cy="990600"/>
          </a:xfrm>
          <a:effectLst>
            <a:outerShdw blurRad="50800" dist="38100" dir="2700000" sx="16000" sy="16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404813" indent="0" algn="l">
              <a:defRPr sz="40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705" name="Text Placeholder 2"/>
          <p:cNvSpPr>
            <a:spLocks noGrp="1"/>
          </p:cNvSpPr>
          <p:nvPr>
            <p:ph type="subTitle" idx="1"/>
          </p:nvPr>
        </p:nvSpPr>
        <p:spPr>
          <a:xfrm>
            <a:off x="335360" y="2492896"/>
            <a:ext cx="10761760" cy="720080"/>
          </a:xfrm>
        </p:spPr>
        <p:txBody>
          <a:bodyPr anchor="ctr">
            <a:noAutofit/>
          </a:bodyPr>
          <a:lstStyle>
            <a:lvl1pPr marL="404813" indent="0" algn="l">
              <a:buFont typeface="Wingdings" pitchFamily="2" charset="2"/>
              <a:buNone/>
              <a:defRPr sz="2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037796" y="4017974"/>
            <a:ext cx="4786487" cy="1979654"/>
            <a:chOff x="5278347" y="4017974"/>
            <a:chExt cx="3589865" cy="1979654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4549"/>
            <a:stretch/>
          </p:blipFill>
          <p:spPr>
            <a:xfrm>
              <a:off x="6511528" y="4017974"/>
              <a:ext cx="1205393" cy="1389872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 userDrawn="1"/>
          </p:nvSpPr>
          <p:spPr>
            <a:xfrm>
              <a:off x="5278347" y="5412853"/>
              <a:ext cx="358986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IN" sz="1600" b="1" dirty="0" smtClean="0">
                  <a:solidFill>
                    <a:srgbClr val="FFC000"/>
                  </a:solidFill>
                </a:rPr>
                <a:t>CARE Indi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IN" sz="1600" b="1" dirty="0" smtClean="0">
                  <a:solidFill>
                    <a:srgbClr val="FFC000"/>
                  </a:solidFill>
                </a:rPr>
                <a:t>(</a:t>
              </a:r>
              <a:r>
                <a:rPr lang="en-IN" sz="1600" b="1" dirty="0">
                  <a:solidFill>
                    <a:srgbClr val="FFC000"/>
                  </a:solidFill>
                </a:rPr>
                <a:t>M</a:t>
              </a:r>
              <a:r>
                <a:rPr lang="en-IN" sz="1600" b="1" dirty="0" smtClean="0">
                  <a:solidFill>
                    <a:srgbClr val="FFC000"/>
                  </a:solidFill>
                </a:rPr>
                <a:t>ember of CARE International)</a:t>
              </a:r>
              <a:endParaRPr lang="en-IN" sz="1600" b="1" dirty="0">
                <a:solidFill>
                  <a:srgbClr val="FFC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0637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4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6767" y="838200"/>
            <a:ext cx="10972800" cy="52578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6142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9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4"/>
          <p:cNvCxnSpPr>
            <a:cxnSpLocks noChangeShapeType="1"/>
          </p:cNvCxnSpPr>
          <p:nvPr/>
        </p:nvCxnSpPr>
        <p:spPr bwMode="auto">
          <a:xfrm flipH="1">
            <a:off x="575734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2" name="Object 3"/>
          <p:cNvGraphicFramePr>
            <a:graphicFrameLocks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6767" y="838200"/>
            <a:ext cx="10972800" cy="48768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0682" y="5736680"/>
            <a:ext cx="11049076" cy="428625"/>
          </a:xfrm>
          <a:solidFill>
            <a:srgbClr val="E46C0A"/>
          </a:solidFill>
        </p:spPr>
        <p:txBody>
          <a:bodyPr>
            <a:normAutofit/>
          </a:bodyPr>
          <a:lstStyle>
            <a:lvl1pPr marL="0" indent="0" algn="ctr">
              <a:buNone/>
              <a:defRPr sz="2000" i="1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1358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6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4"/>
          <p:cNvCxnSpPr>
            <a:cxnSpLocks noChangeShapeType="1"/>
          </p:cNvCxnSpPr>
          <p:nvPr/>
        </p:nvCxnSpPr>
        <p:spPr bwMode="auto">
          <a:xfrm flipH="1">
            <a:off x="575734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9" name="Object 3"/>
          <p:cNvGraphicFramePr>
            <a:graphicFrameLocks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4939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6" y="1718735"/>
            <a:ext cx="11106151" cy="4519084"/>
          </a:xfrm>
        </p:spPr>
        <p:txBody>
          <a:bodyPr/>
          <a:lstStyle>
            <a:lvl1pPr>
              <a:spcBef>
                <a:spcPts val="448"/>
              </a:spcBef>
              <a:defRPr sz="1900" b="0" baseline="0"/>
            </a:lvl1pPr>
            <a:lvl2pPr marL="228578" indent="-228578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55" indent="-228578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48" indent="-230696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26" indent="-228578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6" y="629578"/>
            <a:ext cx="11106151" cy="697577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53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1533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4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1403" y="838200"/>
            <a:ext cx="5384800" cy="5129882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838200"/>
            <a:ext cx="5384800" cy="5129882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2743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8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4"/>
          <p:cNvCxnSpPr>
            <a:cxnSpLocks noChangeShapeType="1"/>
          </p:cNvCxnSpPr>
          <p:nvPr/>
        </p:nvCxnSpPr>
        <p:spPr bwMode="auto">
          <a:xfrm flipH="1">
            <a:off x="575734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graphicFrame>
        <p:nvGraphicFramePr>
          <p:cNvPr id="11" name="Object 3"/>
          <p:cNvGraphicFramePr>
            <a:graphicFrameLocks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0"/>
          </p:nvPr>
        </p:nvSpPr>
        <p:spPr>
          <a:xfrm>
            <a:off x="6245842" y="838200"/>
            <a:ext cx="5695939" cy="5142618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591403" y="838201"/>
            <a:ext cx="5504597" cy="5139071"/>
          </a:xfrm>
        </p:spPr>
        <p:txBody>
          <a:bodyPr>
            <a:normAutofit/>
          </a:bodyPr>
          <a:lstStyle>
            <a:lvl1pPr>
              <a:buClr>
                <a:srgbClr val="0068B3"/>
              </a:buCl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4338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" name="Date Placeholder 3"/>
          <p:cNvSpPr txBox="1">
            <a:spLocks/>
          </p:cNvSpPr>
          <p:nvPr/>
        </p:nvSpPr>
        <p:spPr>
          <a:xfrm>
            <a:off x="4595284" y="6477000"/>
            <a:ext cx="2995083" cy="304800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C722D6C-661F-4D2F-97A8-9581E444D6D5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7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4"/>
          <p:cNvCxnSpPr>
            <a:cxnSpLocks noChangeShapeType="1"/>
          </p:cNvCxnSpPr>
          <p:nvPr/>
        </p:nvCxnSpPr>
        <p:spPr bwMode="auto">
          <a:xfrm flipH="1">
            <a:off x="575734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sp>
        <p:nvSpPr>
          <p:cNvPr id="10" name="TextBox 13"/>
          <p:cNvSpPr txBox="1">
            <a:spLocks noChangeArrowheads="1"/>
          </p:cNvSpPr>
          <p:nvPr userDrawn="1"/>
        </p:nvSpPr>
        <p:spPr bwMode="auto">
          <a:xfrm>
            <a:off x="349251" y="6645275"/>
            <a:ext cx="1075615" cy="10772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 smtClean="0">
                <a:solidFill>
                  <a:srgbClr val="000000"/>
                </a:solidFill>
              </a:rPr>
              <a:t>Reliance Industries Limited</a:t>
            </a:r>
          </a:p>
        </p:txBody>
      </p:sp>
      <p:pic>
        <p:nvPicPr>
          <p:cNvPr id="11" name="Picture 1603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8838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604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88384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Clr>
                <a:schemeClr val="accent4">
                  <a:lumMod val="50000"/>
                </a:schemeClr>
              </a:buClr>
              <a:defRPr sz="1800"/>
            </a:lvl1pPr>
            <a:lvl2pPr>
              <a:buClr>
                <a:schemeClr val="accent4">
                  <a:lumMod val="50000"/>
                </a:schemeClr>
              </a:buClr>
              <a:defRPr sz="1800"/>
            </a:lvl2pPr>
            <a:lvl3pPr>
              <a:buClr>
                <a:schemeClr val="accent4">
                  <a:lumMod val="50000"/>
                </a:schemeClr>
              </a:buClr>
              <a:defRPr sz="1800"/>
            </a:lvl3pPr>
            <a:lvl4pPr>
              <a:buClr>
                <a:schemeClr val="accent4">
                  <a:lumMod val="50000"/>
                </a:schemeClr>
              </a:buClr>
              <a:defRPr sz="1800"/>
            </a:lvl4pPr>
            <a:lvl5pPr>
              <a:buClr>
                <a:schemeClr val="accent4">
                  <a:lumMod val="50000"/>
                </a:schemeClr>
              </a:buClr>
              <a:defRPr sz="1800"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366433" y="6692900"/>
            <a:ext cx="2082800" cy="1079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165418" y="6573838"/>
            <a:ext cx="664633" cy="1841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61E968C-ABFE-47D0-BC42-BA243F0F5D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671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6" y="1519630"/>
            <a:ext cx="11106151" cy="398213"/>
          </a:xfrm>
        </p:spPr>
        <p:txBody>
          <a:bodyPr/>
          <a:lstStyle>
            <a:lvl1pPr>
              <a:lnSpc>
                <a:spcPts val="2000"/>
              </a:lnSpc>
              <a:spcBef>
                <a:spcPts val="0"/>
              </a:spcBef>
              <a:defRPr sz="1900" b="1" baseline="0"/>
            </a:lvl1pPr>
            <a:lvl2pPr marL="228578" indent="-228578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55" indent="-228578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48" indent="-230696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26" indent="-228578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9" y="2038299"/>
            <a:ext cx="11129433" cy="4221604"/>
          </a:xfrm>
        </p:spPr>
        <p:txBody>
          <a:bodyPr/>
          <a:lstStyle>
            <a:lvl1pPr>
              <a:spcBef>
                <a:spcPts val="448"/>
              </a:spcBef>
              <a:defRPr sz="1700"/>
            </a:lvl1pPr>
            <a:lvl2pPr>
              <a:spcBef>
                <a:spcPts val="448"/>
              </a:spcBef>
              <a:defRPr sz="1700"/>
            </a:lvl2pPr>
            <a:lvl3pPr>
              <a:spcBef>
                <a:spcPts val="448"/>
              </a:spcBef>
              <a:defRPr sz="1600"/>
            </a:lvl3pPr>
            <a:lvl4pPr>
              <a:spcBef>
                <a:spcPts val="448"/>
              </a:spcBef>
              <a:defRPr sz="1500"/>
            </a:lvl4pPr>
            <a:lvl5pPr>
              <a:spcBef>
                <a:spcPts val="448"/>
              </a:spcBef>
              <a:defRPr sz="13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6" y="629578"/>
            <a:ext cx="11106151" cy="697577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1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5" y="712944"/>
            <a:ext cx="6728883" cy="553545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31910"/>
            <a:ext cx="4226984" cy="862195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9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6" y="1162283"/>
            <a:ext cx="11106151" cy="600132"/>
          </a:xfrm>
        </p:spPr>
        <p:txBody>
          <a:bodyPr/>
          <a:lstStyle>
            <a:lvl1pPr marL="0" indent="0">
              <a:buNone/>
              <a:defRPr sz="1700" baseline="0"/>
            </a:lvl1pPr>
            <a:lvl2pPr marL="0" indent="0">
              <a:buFont typeface="Arial" panose="020B0604020202020204" pitchFamily="34" charset="0"/>
              <a:buNone/>
              <a:defRPr sz="1700"/>
            </a:lvl2pPr>
            <a:lvl3pPr marL="0" indent="0">
              <a:buNone/>
              <a:defRPr sz="1700"/>
            </a:lvl3pPr>
            <a:lvl4pPr marL="0" indent="0">
              <a:buNone/>
              <a:defRPr sz="1700"/>
            </a:lvl4pPr>
            <a:lvl5pPr marL="0" indent="0">
              <a:buNone/>
              <a:defRPr sz="17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6" y="1949452"/>
            <a:ext cx="11106151" cy="4288367"/>
          </a:xfrm>
        </p:spPr>
        <p:txBody>
          <a:bodyPr tIns="1097199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6" y="629573"/>
            <a:ext cx="11106151" cy="50924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27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5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448"/>
              </a:spcBef>
              <a:spcAft>
                <a:spcPts val="0"/>
              </a:spcAft>
              <a:defRPr sz="1900" b="0"/>
            </a:lvl1pPr>
            <a:lvl2pPr>
              <a:spcBef>
                <a:spcPts val="448"/>
              </a:spcBef>
              <a:spcAft>
                <a:spcPts val="0"/>
              </a:spcAft>
              <a:defRPr sz="1700" baseline="0"/>
            </a:lvl2pPr>
            <a:lvl3pPr>
              <a:spcBef>
                <a:spcPts val="448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47" indent="-228578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448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6" y="629578"/>
            <a:ext cx="11106151" cy="697577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91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448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448"/>
              </a:spcBef>
              <a:spcAft>
                <a:spcPts val="0"/>
              </a:spcAft>
              <a:defRPr sz="1700" baseline="0"/>
            </a:lvl2pPr>
            <a:lvl3pPr>
              <a:spcBef>
                <a:spcPts val="44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47" indent="-228578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09" indent="-228578">
              <a:spcBef>
                <a:spcPts val="448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4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rtlCol="0" anchor="ctr"/>
          <a:lstStyle/>
          <a:p>
            <a:pPr algn="ctr" defTabSz="914332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4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8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05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oleObject" Target="../embeddings/oleObject15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32.xml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oleObject" Target="../embeddings/oleObject29.bin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20.xml"/><Relationship Id="rId5" Type="http://schemas.openxmlformats.org/officeDocument/2006/relationships/slideLayout" Target="../slideLayouts/slideLayout40.xml"/><Relationship Id="rId10" Type="http://schemas.openxmlformats.org/officeDocument/2006/relationships/vmlDrawing" Target="../drawings/vmlDrawing19.vml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5" y="707271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69314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rtlCol="0" anchor="ctr"/>
          <a:lstStyle/>
          <a:p>
            <a:pPr algn="ctr" defTabSz="914332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332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914332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29575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951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70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1219080" rtl="0" eaLnBrk="1" latinLnBrk="0" hangingPunct="1">
        <a:lnSpc>
          <a:spcPts val="3067"/>
        </a:lnSpc>
        <a:spcBef>
          <a:spcPct val="0"/>
        </a:spcBef>
        <a:buNone/>
        <a:defRPr sz="31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080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9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393" indent="-243393" algn="l" defTabSz="121908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271" indent="-198950" algn="l" defTabSz="121908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47" algn="l"/>
        </a:tabLst>
        <a:defRPr sz="17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34" indent="-228578" algn="l" defTabSz="1219080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09" indent="-228578" algn="l" defTabSz="1219080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350" name="Object 174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352" name="Title Placeholder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12192000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itle – Use First Letter Capitals</a:t>
            </a:r>
          </a:p>
        </p:txBody>
      </p:sp>
      <p:sp>
        <p:nvSpPr>
          <p:cNvPr id="503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0551" y="838200"/>
            <a:ext cx="1097280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lide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476252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357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047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34607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n-lt"/>
          <a:ea typeface="+mj-ea"/>
          <a:cs typeface="Times New Roman" pitchFamily="18" charset="0"/>
        </a:defRPr>
      </a:lvl1pPr>
      <a:lvl2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2pPr>
      <a:lvl3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3pPr>
      <a:lvl4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4pPr>
      <a:lvl5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88925" indent="-288925" algn="l" rtl="0" eaLnBrk="0" fontAlgn="base" hangingPunct="0">
        <a:spcBef>
          <a:spcPct val="20000"/>
        </a:spcBef>
        <a:spcAft>
          <a:spcPct val="0"/>
        </a:spcAft>
        <a:buClr>
          <a:srgbClr val="0068B3"/>
        </a:buClr>
        <a:buSzPct val="120000"/>
        <a:buFont typeface="Wingdings" pitchFamily="2" charset="2"/>
        <a:buChar char="§"/>
        <a:defRPr sz="2200">
          <a:solidFill>
            <a:srgbClr val="404040"/>
          </a:solidFill>
          <a:latin typeface="+mn-lt"/>
          <a:ea typeface="+mn-ea"/>
          <a:cs typeface="Times New Roman" pitchFamily="18" charset="0"/>
        </a:defRPr>
      </a:lvl1pPr>
      <a:lvl2pPr marL="568325" indent="-279400" algn="l" rtl="0" eaLnBrk="0" fontAlgn="base" hangingPunct="0">
        <a:spcBef>
          <a:spcPct val="20000"/>
        </a:spcBef>
        <a:spcAft>
          <a:spcPct val="0"/>
        </a:spcAft>
        <a:buClr>
          <a:srgbClr val="FF6600"/>
        </a:buClr>
        <a:buSzPct val="110000"/>
        <a:buFont typeface="Arial" charset="0"/>
        <a:buChar char="•"/>
        <a:defRPr sz="2000">
          <a:solidFill>
            <a:srgbClr val="595959"/>
          </a:solidFill>
          <a:latin typeface="+mn-lt"/>
          <a:cs typeface="Times New Roman" pitchFamily="18" charset="0"/>
        </a:defRPr>
      </a:lvl2pPr>
      <a:lvl3pPr marL="798513" indent="-17303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̶"/>
        <a:defRPr>
          <a:solidFill>
            <a:srgbClr val="7F7F7F"/>
          </a:solidFill>
          <a:latin typeface="+mn-lt"/>
          <a:cs typeface="Times New Roman" pitchFamily="18" charset="0"/>
        </a:defRPr>
      </a:lvl3pPr>
      <a:lvl4pPr marL="1087438" indent="-23018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1600">
          <a:solidFill>
            <a:srgbClr val="7F7F7F"/>
          </a:solidFill>
          <a:latin typeface="+mn-lt"/>
          <a:cs typeface="Times New Roman" pitchFamily="18" charset="0"/>
        </a:defRPr>
      </a:lvl4pPr>
      <a:lvl5pPr marL="1319213" indent="-17303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̶"/>
        <a:defRPr sz="1400">
          <a:solidFill>
            <a:srgbClr val="7F7F7F"/>
          </a:solidFill>
          <a:latin typeface="+mn-lt"/>
          <a:cs typeface="Times New Roman" pitchFamily="18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350" name="Object 174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352" name="Title Placeholder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12192000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itle – Use First Letter Capitals</a:t>
            </a:r>
          </a:p>
        </p:txBody>
      </p:sp>
      <p:sp>
        <p:nvSpPr>
          <p:cNvPr id="503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0551" y="838200"/>
            <a:ext cx="1097280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lide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357" name="Straight Connector 24"/>
          <p:cNvCxnSpPr>
            <a:cxnSpLocks noChangeShapeType="1"/>
          </p:cNvCxnSpPr>
          <p:nvPr/>
        </p:nvCxnSpPr>
        <p:spPr bwMode="auto">
          <a:xfrm flipH="1">
            <a:off x="575735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807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34607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n-lt"/>
          <a:ea typeface="+mj-ea"/>
          <a:cs typeface="Times New Roman" pitchFamily="18" charset="0"/>
        </a:defRPr>
      </a:lvl1pPr>
      <a:lvl2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2pPr>
      <a:lvl3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3pPr>
      <a:lvl4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4pPr>
      <a:lvl5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88925" indent="-288925" algn="l" rtl="0" eaLnBrk="0" fontAlgn="base" hangingPunct="0">
        <a:spcBef>
          <a:spcPct val="20000"/>
        </a:spcBef>
        <a:spcAft>
          <a:spcPct val="0"/>
        </a:spcAft>
        <a:buClr>
          <a:srgbClr val="0068B3"/>
        </a:buClr>
        <a:buSzPct val="120000"/>
        <a:buFont typeface="Wingdings" pitchFamily="2" charset="2"/>
        <a:buChar char="§"/>
        <a:defRPr sz="2200">
          <a:solidFill>
            <a:srgbClr val="404040"/>
          </a:solidFill>
          <a:latin typeface="+mn-lt"/>
          <a:ea typeface="+mn-ea"/>
          <a:cs typeface="Times New Roman" pitchFamily="18" charset="0"/>
        </a:defRPr>
      </a:lvl1pPr>
      <a:lvl2pPr marL="568325" indent="-279400" algn="l" rtl="0" eaLnBrk="0" fontAlgn="base" hangingPunct="0">
        <a:spcBef>
          <a:spcPct val="20000"/>
        </a:spcBef>
        <a:spcAft>
          <a:spcPct val="0"/>
        </a:spcAft>
        <a:buClr>
          <a:srgbClr val="FF6600"/>
        </a:buClr>
        <a:buSzPct val="110000"/>
        <a:buFont typeface="Arial" charset="0"/>
        <a:buChar char="•"/>
        <a:defRPr sz="2000">
          <a:solidFill>
            <a:srgbClr val="595959"/>
          </a:solidFill>
          <a:latin typeface="+mn-lt"/>
          <a:cs typeface="Times New Roman" pitchFamily="18" charset="0"/>
        </a:defRPr>
      </a:lvl2pPr>
      <a:lvl3pPr marL="798513" indent="-17303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̶"/>
        <a:defRPr>
          <a:solidFill>
            <a:srgbClr val="7F7F7F"/>
          </a:solidFill>
          <a:latin typeface="+mn-lt"/>
          <a:cs typeface="Times New Roman" pitchFamily="18" charset="0"/>
        </a:defRPr>
      </a:lvl3pPr>
      <a:lvl4pPr marL="1087438" indent="-23018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1600">
          <a:solidFill>
            <a:srgbClr val="7F7F7F"/>
          </a:solidFill>
          <a:latin typeface="+mn-lt"/>
          <a:cs typeface="Times New Roman" pitchFamily="18" charset="0"/>
        </a:defRPr>
      </a:lvl4pPr>
      <a:lvl5pPr marL="1319213" indent="-17303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̶"/>
        <a:defRPr sz="1400">
          <a:solidFill>
            <a:srgbClr val="7F7F7F"/>
          </a:solidFill>
          <a:latin typeface="+mn-lt"/>
          <a:cs typeface="Times New Roman" pitchFamily="18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350" name="Object 174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352" name="Title Placeholder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12192000" cy="72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itle – Use First Letter Capitals</a:t>
            </a:r>
          </a:p>
        </p:txBody>
      </p:sp>
      <p:sp>
        <p:nvSpPr>
          <p:cNvPr id="503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0551" y="838200"/>
            <a:ext cx="1097280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slide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476250" y="6662738"/>
            <a:ext cx="200448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45720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9196917" y="6615753"/>
            <a:ext cx="2995083" cy="304800"/>
          </a:xfrm>
          <a:prstGeom prst="rect">
            <a:avLst/>
          </a:prstGeom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BD2678-1586-4CEE-9C5A-66E8228F65B9}" type="slidenum">
              <a:rPr lang="en-US" sz="800">
                <a:solidFill>
                  <a:srgbClr val="FFFFFF">
                    <a:lumMod val="50000"/>
                  </a:srgbClr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575733" y="6337300"/>
            <a:ext cx="10957984" cy="0"/>
          </a:xfrm>
          <a:prstGeom prst="line">
            <a:avLst/>
          </a:prstGeom>
          <a:ln w="12700" cmpd="sng">
            <a:solidFill>
              <a:srgbClr val="FFBD5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357" name="Straight Connector 24"/>
          <p:cNvCxnSpPr>
            <a:cxnSpLocks noChangeShapeType="1"/>
          </p:cNvCxnSpPr>
          <p:nvPr/>
        </p:nvCxnSpPr>
        <p:spPr bwMode="auto">
          <a:xfrm flipH="1">
            <a:off x="575734" y="723900"/>
            <a:ext cx="10960100" cy="0"/>
          </a:xfrm>
          <a:prstGeom prst="line">
            <a:avLst/>
          </a:prstGeom>
          <a:noFill/>
          <a:ln w="50800" cap="sq" algn="ctr">
            <a:solidFill>
              <a:srgbClr val="FFBD5B"/>
            </a:solidFill>
            <a:round/>
            <a:headEnd type="none" w="sm" len="sm"/>
            <a:tailEnd type="none" w="sm" len="sm"/>
          </a:ln>
        </p:spPr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549"/>
          <a:stretch/>
        </p:blipFill>
        <p:spPr>
          <a:xfrm>
            <a:off x="11472361" y="6455391"/>
            <a:ext cx="404360" cy="349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153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346075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n-lt"/>
          <a:ea typeface="+mj-ea"/>
          <a:cs typeface="Times New Roman" pitchFamily="18" charset="0"/>
        </a:defRPr>
      </a:lvl1pPr>
      <a:lvl2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2pPr>
      <a:lvl3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3pPr>
      <a:lvl4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4pPr>
      <a:lvl5pPr marL="346075"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Times New Roman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88925" indent="-288925" algn="l" rtl="0" eaLnBrk="0" fontAlgn="base" hangingPunct="0">
        <a:spcBef>
          <a:spcPct val="20000"/>
        </a:spcBef>
        <a:spcAft>
          <a:spcPct val="0"/>
        </a:spcAft>
        <a:buClr>
          <a:srgbClr val="0068B3"/>
        </a:buClr>
        <a:buSzPct val="120000"/>
        <a:buFont typeface="Wingdings" pitchFamily="2" charset="2"/>
        <a:buChar char="§"/>
        <a:defRPr sz="2200">
          <a:solidFill>
            <a:srgbClr val="404040"/>
          </a:solidFill>
          <a:latin typeface="+mn-lt"/>
          <a:ea typeface="+mn-ea"/>
          <a:cs typeface="Times New Roman" pitchFamily="18" charset="0"/>
        </a:defRPr>
      </a:lvl1pPr>
      <a:lvl2pPr marL="568325" indent="-279400" algn="l" rtl="0" eaLnBrk="0" fontAlgn="base" hangingPunct="0">
        <a:spcBef>
          <a:spcPct val="20000"/>
        </a:spcBef>
        <a:spcAft>
          <a:spcPct val="0"/>
        </a:spcAft>
        <a:buClr>
          <a:srgbClr val="FF6600"/>
        </a:buClr>
        <a:buSzPct val="110000"/>
        <a:buFont typeface="Arial" charset="0"/>
        <a:buChar char="•"/>
        <a:defRPr sz="2000">
          <a:solidFill>
            <a:srgbClr val="595959"/>
          </a:solidFill>
          <a:latin typeface="+mn-lt"/>
          <a:cs typeface="Times New Roman" pitchFamily="18" charset="0"/>
        </a:defRPr>
      </a:lvl2pPr>
      <a:lvl3pPr marL="798513" indent="-17303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̶"/>
        <a:defRPr>
          <a:solidFill>
            <a:srgbClr val="7F7F7F"/>
          </a:solidFill>
          <a:latin typeface="+mn-lt"/>
          <a:cs typeface="Times New Roman" pitchFamily="18" charset="0"/>
        </a:defRPr>
      </a:lvl3pPr>
      <a:lvl4pPr marL="1087438" indent="-23018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1600">
          <a:solidFill>
            <a:srgbClr val="7F7F7F"/>
          </a:solidFill>
          <a:latin typeface="+mn-lt"/>
          <a:cs typeface="Times New Roman" pitchFamily="18" charset="0"/>
        </a:defRPr>
      </a:lvl4pPr>
      <a:lvl5pPr marL="1319213" indent="-173038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̶"/>
        <a:defRPr sz="1400">
          <a:solidFill>
            <a:srgbClr val="7F7F7F"/>
          </a:solidFill>
          <a:latin typeface="+mn-lt"/>
          <a:cs typeface="Times New Roman" pitchFamily="18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30.xml"/><Relationship Id="rId7" Type="http://schemas.openxmlformats.org/officeDocument/2006/relationships/chart" Target="../charts/char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12" Type="http://schemas.openxmlformats.org/officeDocument/2006/relationships/image" Target="../media/image25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jpeg"/><Relationship Id="rId11" Type="http://schemas.openxmlformats.org/officeDocument/2006/relationships/image" Target="../media/image24.jpeg"/><Relationship Id="rId5" Type="http://schemas.microsoft.com/office/2007/relationships/hdphoto" Target="../media/hdphoto2.wdp"/><Relationship Id="rId10" Type="http://schemas.openxmlformats.org/officeDocument/2006/relationships/image" Target="../media/image23.jpeg"/><Relationship Id="rId4" Type="http://schemas.openxmlformats.org/officeDocument/2006/relationships/image" Target="../media/image19.jpeg"/><Relationship Id="rId9" Type="http://schemas.openxmlformats.org/officeDocument/2006/relationships/image" Target="../media/image22.jpeg"/><Relationship Id="rId14" Type="http://schemas.openxmlformats.org/officeDocument/2006/relationships/hyperlink" Target="MNMT%20Simulation%20video%20PPH%20(2).mp4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2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3233744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3543301"/>
            <a:ext cx="12192000" cy="33147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sz="24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0268" y="1432984"/>
            <a:ext cx="11664951" cy="4332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IN" sz="4267" b="1" dirty="0" smtClean="0">
                <a:solidFill>
                  <a:srgbClr val="000000"/>
                </a:solidFill>
              </a:rPr>
              <a:t>Innovations in Bihar</a:t>
            </a:r>
          </a:p>
          <a:p>
            <a:pPr>
              <a:defRPr/>
            </a:pPr>
            <a:r>
              <a:rPr lang="en-US" sz="4400" b="1" i="1" dirty="0" smtClean="0"/>
              <a:t>AMANAT (Mobile Nurse Mentoring)</a:t>
            </a:r>
            <a:endParaRPr lang="en-IN" sz="2133" i="1" dirty="0">
              <a:solidFill>
                <a:schemeClr val="bg1"/>
              </a:solidFill>
            </a:endParaRPr>
          </a:p>
        </p:txBody>
      </p:sp>
      <p:pic>
        <p:nvPicPr>
          <p:cNvPr id="1200" name="Picture 176" descr="C:\Users\TOSHIBA INDIA\Desktop\amanat logo fina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560164" cy="1664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D:\Swath bihar logo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2900" y="0"/>
            <a:ext cx="1453005" cy="16646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95833"/>
            <a:ext cx="12192000" cy="955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62687"/>
      </p:ext>
    </p:extLst>
  </p:cSld>
  <p:clrMapOvr>
    <a:masterClrMapping/>
  </p:clrMapOvr>
  <p:transition spd="med" advTm="510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IN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NMT results – </a:t>
            </a:r>
            <a:r>
              <a:rPr lang="en-IN" sz="2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abor</a:t>
            </a:r>
            <a:r>
              <a:rPr lang="en-IN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room reorganization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 smtClean="0"/>
              <a:t>2</a:t>
            </a:r>
            <a:endParaRPr lang="en-IN" sz="1100" b="1" dirty="0"/>
          </a:p>
        </p:txBody>
      </p:sp>
      <p:sp>
        <p:nvSpPr>
          <p:cNvPr id="295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63" y="1578378"/>
            <a:ext cx="10429875" cy="496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427890" y="127700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 i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efor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638800" y="127700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 i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n Process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9028386" y="127700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 i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fter</a:t>
            </a:r>
          </a:p>
        </p:txBody>
      </p:sp>
    </p:spTree>
    <p:extLst>
      <p:ext uri="{BB962C8B-B14F-4D97-AF65-F5344CB8AC3E}">
        <p14:creationId xmlns:p14="http://schemas.microsoft.com/office/powerpoint/2010/main" val="41738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IN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NM Pilot results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 smtClean="0"/>
              <a:t>2</a:t>
            </a:r>
            <a:endParaRPr lang="en-IN" sz="1100" b="1" dirty="0"/>
          </a:p>
        </p:txBody>
      </p:sp>
      <p:sp>
        <p:nvSpPr>
          <p:cNvPr id="295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73" name="Table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958724"/>
              </p:ext>
            </p:extLst>
          </p:nvPr>
        </p:nvGraphicFramePr>
        <p:xfrm>
          <a:off x="691691" y="1201350"/>
          <a:ext cx="10387048" cy="4956568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3461965"/>
                <a:gridCol w="3461965"/>
                <a:gridCol w="3463118"/>
              </a:tblGrid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2000" dirty="0">
                          <a:effectLst/>
                        </a:rPr>
                        <a:t> </a:t>
                      </a:r>
                      <a:r>
                        <a:rPr lang="en-IN" sz="2000" dirty="0" smtClean="0">
                          <a:effectLst/>
                        </a:rPr>
                        <a:t>Indicators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2000">
                          <a:effectLst/>
                        </a:rPr>
                        <a:t>Before Mentoring %</a:t>
                      </a:r>
                      <a:endParaRPr lang="en-US" sz="200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2000" dirty="0" smtClean="0">
                          <a:effectLst/>
                        </a:rPr>
                        <a:t>6 months after </a:t>
                      </a:r>
                      <a:r>
                        <a:rPr lang="en-IN" sz="2000" dirty="0">
                          <a:effectLst/>
                        </a:rPr>
                        <a:t>Mentoring %</a:t>
                      </a:r>
                      <a:endParaRPr lang="en-US" sz="20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Oxytocin for AMTSL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8.6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 smtClean="0">
                          <a:effectLst/>
                        </a:rPr>
                        <a:t>75.0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dirty="0" smtClean="0">
                          <a:effectLst/>
                          <a:latin typeface="Calibri"/>
                          <a:ea typeface="Calibri"/>
                          <a:cs typeface="Mangal"/>
                        </a:rPr>
                        <a:t>Fundal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Calibri"/>
                          <a:cs typeface="Mangal"/>
                        </a:rPr>
                        <a:t> pressure applied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 smtClean="0">
                          <a:effectLst/>
                          <a:latin typeface="Calibri"/>
                          <a:ea typeface="Calibri"/>
                          <a:cs typeface="Mangal"/>
                        </a:rPr>
                        <a:t>32.0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 smtClean="0">
                          <a:effectLst/>
                          <a:latin typeface="Calibri"/>
                          <a:ea typeface="Calibri"/>
                          <a:cs typeface="Mangal"/>
                        </a:rPr>
                        <a:t>03.6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STSC initiated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30.9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62.5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BF initiated in LR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49.1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71.5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Handwashing </a:t>
                      </a:r>
                      <a:r>
                        <a:rPr lang="en-IN" sz="1800" dirty="0" smtClean="0">
                          <a:effectLst/>
                        </a:rPr>
                        <a:t>correct (All six steps)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14.0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36.8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Sterile instruments used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>
                          <a:effectLst/>
                        </a:rPr>
                        <a:t>13.0</a:t>
                      </a:r>
                      <a:endParaRPr lang="en-US" sz="140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43.5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  <a:tr h="619571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800" dirty="0">
                          <a:effectLst/>
                        </a:rPr>
                        <a:t>Attendant wore gloves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76.0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IN" sz="1600" dirty="0">
                          <a:effectLst/>
                        </a:rPr>
                        <a:t>90.4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Mangal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81708" y="6360800"/>
            <a:ext cx="97553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dirty="0" smtClean="0"/>
              <a:t>**Based on independent observations of 600+ deliveries after pilot phase of AMANAT </a:t>
            </a:r>
            <a:endParaRPr lang="en-US" sz="1600" b="1" i="1" dirty="0"/>
          </a:p>
        </p:txBody>
      </p:sp>
    </p:spTree>
    <p:extLst>
      <p:ext uri="{BB962C8B-B14F-4D97-AF65-F5344CB8AC3E}">
        <p14:creationId xmlns:p14="http://schemas.microsoft.com/office/powerpoint/2010/main" val="240019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6836" y="440388"/>
            <a:ext cx="11106151" cy="697577"/>
          </a:xfr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cap="none" dirty="0" smtClean="0">
                <a:solidFill>
                  <a:srgbClr val="000000"/>
                </a:solidFill>
                <a:ea typeface="+mn-ea"/>
              </a:rPr>
              <a:t>Key Takeaways from the pilots were used to scale up the program</a:t>
            </a:r>
            <a:endParaRPr lang="en-US" sz="2400" b="1" cap="none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 smtClean="0"/>
              <a:t>3</a:t>
            </a:r>
            <a:endParaRPr lang="en-IN" sz="1100" b="1" dirty="0"/>
          </a:p>
        </p:txBody>
      </p:sp>
      <p:graphicFrame>
        <p:nvGraphicFramePr>
          <p:cNvPr id="48" name="Table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856011"/>
              </p:ext>
            </p:extLst>
          </p:nvPr>
        </p:nvGraphicFramePr>
        <p:xfrm>
          <a:off x="787690" y="1231110"/>
          <a:ext cx="10799963" cy="50168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70221"/>
                <a:gridCol w="6729742"/>
              </a:tblGrid>
              <a:tr h="41341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000" dirty="0" smtClean="0">
                          <a:solidFill>
                            <a:schemeClr val="bg1"/>
                          </a:solidFill>
                        </a:rPr>
                        <a:t>Challenges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2000" dirty="0" smtClean="0">
                          <a:solidFill>
                            <a:schemeClr val="bg1"/>
                          </a:solidFill>
                        </a:rPr>
                        <a:t>Steps</a:t>
                      </a:r>
                      <a:r>
                        <a:rPr lang="en-US" sz="2000" baseline="0" dirty="0" smtClean="0">
                          <a:solidFill>
                            <a:schemeClr val="bg1"/>
                          </a:solidFill>
                        </a:rPr>
                        <a:t> taken to cater to these challenges</a:t>
                      </a:r>
                      <a:endParaRPr lang="en-US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</a:tr>
              <a:tr h="745409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Wingdings" charset="2"/>
                        <a:buChar char="§"/>
                      </a:pPr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Gathering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 the mentors</a:t>
                      </a:r>
                      <a:endParaRPr lang="en-US" sz="1600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Out Sourcing to competent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agency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Comfortable salary,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 stay and facilities</a:t>
                      </a:r>
                      <a:endParaRPr lang="en-US" sz="1600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</a:tr>
              <a:tr h="993495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Wingdings" charset="2"/>
                        <a:buChar char="§"/>
                      </a:pP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Extending the Mentoring locally/ refreshers</a:t>
                      </a:r>
                      <a:endParaRPr lang="en-US" sz="1600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Identification of 2-3 nurses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 as </a:t>
                      </a:r>
                      <a:r>
                        <a:rPr lang="en-US" sz="1600" b="1" baseline="0" dirty="0" smtClean="0">
                          <a:solidFill>
                            <a:schemeClr val="accent6"/>
                          </a:solidFill>
                        </a:rPr>
                        <a:t>local mentors 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in each batch of mentees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Insistence on the other staff to learn the skills</a:t>
                      </a:r>
                    </a:p>
                  </a:txBody>
                  <a:tcPr/>
                </a:tc>
              </a:tr>
              <a:tr h="993495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Wingdings" charset="2"/>
                        <a:buChar char="§"/>
                      </a:pPr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Local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 leadership taking responsibility to sustain change in practices</a:t>
                      </a:r>
                      <a:endParaRPr lang="en-US" sz="1600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Written Memorandum of Understanding between the SRU &amp; MOs </a:t>
                      </a:r>
                      <a:r>
                        <a:rPr lang="en-US" sz="1600" baseline="0" dirty="0" err="1" smtClean="0">
                          <a:solidFill>
                            <a:schemeClr val="accent6"/>
                          </a:solidFill>
                        </a:rPr>
                        <a:t>i/c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 of the PHCs, countersigned by the Civil Surgeon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Written orders to ensure facility strengthening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Sub Committee for Capacity Building within DQAC.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A State Task force on Capacity Building – to review AMANAT every 3 months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Full involvement</a:t>
                      </a: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 of the hospital administration. 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en-US" sz="1600" baseline="0" dirty="0" smtClean="0">
                          <a:solidFill>
                            <a:schemeClr val="accent6"/>
                          </a:solidFill>
                        </a:rPr>
                        <a:t>Supportive supervision by the district health authorities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528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nitoring Mechanism : Facility Information System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 smtClean="0"/>
              <a:t>3</a:t>
            </a:r>
            <a:endParaRPr lang="en-IN" sz="1100" b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128" y="1385620"/>
            <a:ext cx="11496575" cy="431074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52767" y="5800092"/>
            <a:ext cx="114492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sz="2400" dirty="0" smtClean="0">
                <a:solidFill>
                  <a:schemeClr val="accent6"/>
                </a:solidFill>
              </a:rPr>
              <a:t>Training details including the topics taught, nurses attended and methodology used</a:t>
            </a:r>
            <a:endParaRPr lang="en-IN" sz="2400" dirty="0">
              <a:solidFill>
                <a:schemeClr val="accent6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IN" sz="2400" dirty="0" smtClean="0">
                <a:solidFill>
                  <a:schemeClr val="accent6"/>
                </a:solidFill>
              </a:rPr>
              <a:t>Clinical Log to track appropriate treatment and change in management over time</a:t>
            </a:r>
            <a:endParaRPr lang="en-IN" sz="2400" dirty="0">
              <a:solidFill>
                <a:schemeClr val="accent6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71216" y="450636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US" sz="1100" dirty="0" smtClean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09919" y="1757162"/>
            <a:ext cx="1461746" cy="30024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35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6836" y="440388"/>
            <a:ext cx="11106151" cy="697577"/>
          </a:xfr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cap="none" dirty="0" smtClean="0">
                <a:solidFill>
                  <a:srgbClr val="000000"/>
                </a:solidFill>
                <a:ea typeface="+mn-ea"/>
              </a:rPr>
              <a:t>Scale up plan</a:t>
            </a:r>
            <a:endParaRPr lang="en-US" sz="2400" b="1" cap="none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/>
              <a:t>3</a:t>
            </a:r>
          </a:p>
        </p:txBody>
      </p:sp>
      <p:sp>
        <p:nvSpPr>
          <p:cNvPr id="143" name="Rectangle 142"/>
          <p:cNvSpPr/>
          <p:nvPr/>
        </p:nvSpPr>
        <p:spPr bwMode="auto">
          <a:xfrm>
            <a:off x="378969" y="1219215"/>
            <a:ext cx="2316480" cy="5253832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 cap="sq" cmpd="sng" algn="ctr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Scale</a:t>
            </a:r>
            <a:r>
              <a:rPr kumimoji="0" lang="en-US" sz="1400" b="1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u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184" name="Group 183"/>
          <p:cNvGrpSpPr/>
          <p:nvPr/>
        </p:nvGrpSpPr>
        <p:grpSpPr>
          <a:xfrm>
            <a:off x="2695449" y="1608138"/>
            <a:ext cx="3098144" cy="2149475"/>
            <a:chOff x="2251527" y="4454783"/>
            <a:chExt cx="1492810" cy="1437983"/>
          </a:xfrm>
        </p:grpSpPr>
        <p:sp>
          <p:nvSpPr>
            <p:cNvPr id="185" name="TextBox 184"/>
            <p:cNvSpPr txBox="1"/>
            <p:nvPr/>
          </p:nvSpPr>
          <p:spPr>
            <a:xfrm>
              <a:off x="2251527" y="5554212"/>
              <a:ext cx="1492810" cy="33855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State wide roll out- 38 districts</a:t>
              </a:r>
            </a:p>
          </p:txBody>
        </p:sp>
        <p:grpSp>
          <p:nvGrpSpPr>
            <p:cNvPr id="186" name="Group 185"/>
            <p:cNvGrpSpPr/>
            <p:nvPr/>
          </p:nvGrpSpPr>
          <p:grpSpPr>
            <a:xfrm>
              <a:off x="2505136" y="4454783"/>
              <a:ext cx="983419" cy="773863"/>
              <a:chOff x="2166150" y="1433622"/>
              <a:chExt cx="4261388" cy="3142282"/>
            </a:xfrm>
            <a:solidFill>
              <a:srgbClr val="92D050"/>
            </a:solidFill>
          </p:grpSpPr>
          <p:sp>
            <p:nvSpPr>
              <p:cNvPr id="187" name="Freeform 186"/>
              <p:cNvSpPr/>
              <p:nvPr/>
            </p:nvSpPr>
            <p:spPr>
              <a:xfrm>
                <a:off x="2720478" y="1433622"/>
                <a:ext cx="753538" cy="925252"/>
              </a:xfrm>
              <a:custGeom>
                <a:avLst/>
                <a:gdLst>
                  <a:gd name="connsiteX0" fmla="*/ 0 w 1325880"/>
                  <a:gd name="connsiteY0" fmla="*/ 304800 h 1577340"/>
                  <a:gd name="connsiteX1" fmla="*/ 60960 w 1325880"/>
                  <a:gd name="connsiteY1" fmla="*/ 243840 h 1577340"/>
                  <a:gd name="connsiteX2" fmla="*/ 0 w 1325880"/>
                  <a:gd name="connsiteY2" fmla="*/ 121920 h 1577340"/>
                  <a:gd name="connsiteX3" fmla="*/ 137160 w 1325880"/>
                  <a:gd name="connsiteY3" fmla="*/ 121920 h 1577340"/>
                  <a:gd name="connsiteX4" fmla="*/ 259080 w 1325880"/>
                  <a:gd name="connsiteY4" fmla="*/ 114300 h 1577340"/>
                  <a:gd name="connsiteX5" fmla="*/ 419100 w 1325880"/>
                  <a:gd name="connsiteY5" fmla="*/ 0 h 1577340"/>
                  <a:gd name="connsiteX6" fmla="*/ 495300 w 1325880"/>
                  <a:gd name="connsiteY6" fmla="*/ 60960 h 1577340"/>
                  <a:gd name="connsiteX7" fmla="*/ 579120 w 1325880"/>
                  <a:gd name="connsiteY7" fmla="*/ 91440 h 1577340"/>
                  <a:gd name="connsiteX8" fmla="*/ 670560 w 1325880"/>
                  <a:gd name="connsiteY8" fmla="*/ 220980 h 1577340"/>
                  <a:gd name="connsiteX9" fmla="*/ 891540 w 1325880"/>
                  <a:gd name="connsiteY9" fmla="*/ 281940 h 1577340"/>
                  <a:gd name="connsiteX10" fmla="*/ 1150620 w 1325880"/>
                  <a:gd name="connsiteY10" fmla="*/ 335280 h 1577340"/>
                  <a:gd name="connsiteX11" fmla="*/ 1226820 w 1325880"/>
                  <a:gd name="connsiteY11" fmla="*/ 502920 h 1577340"/>
                  <a:gd name="connsiteX12" fmla="*/ 1226820 w 1325880"/>
                  <a:gd name="connsiteY12" fmla="*/ 640080 h 1577340"/>
                  <a:gd name="connsiteX13" fmla="*/ 1165860 w 1325880"/>
                  <a:gd name="connsiteY13" fmla="*/ 822960 h 1577340"/>
                  <a:gd name="connsiteX14" fmla="*/ 1325880 w 1325880"/>
                  <a:gd name="connsiteY14" fmla="*/ 883920 h 1577340"/>
                  <a:gd name="connsiteX15" fmla="*/ 1295400 w 1325880"/>
                  <a:gd name="connsiteY15" fmla="*/ 967740 h 1577340"/>
                  <a:gd name="connsiteX16" fmla="*/ 1264920 w 1325880"/>
                  <a:gd name="connsiteY16" fmla="*/ 990600 h 1577340"/>
                  <a:gd name="connsiteX17" fmla="*/ 1211580 w 1325880"/>
                  <a:gd name="connsiteY17" fmla="*/ 1074420 h 1577340"/>
                  <a:gd name="connsiteX18" fmla="*/ 1272540 w 1325880"/>
                  <a:gd name="connsiteY18" fmla="*/ 1173480 h 1577340"/>
                  <a:gd name="connsiteX19" fmla="*/ 1264920 w 1325880"/>
                  <a:gd name="connsiteY19" fmla="*/ 1249680 h 1577340"/>
                  <a:gd name="connsiteX20" fmla="*/ 1264920 w 1325880"/>
                  <a:gd name="connsiteY20" fmla="*/ 1318260 h 1577340"/>
                  <a:gd name="connsiteX21" fmla="*/ 1127760 w 1325880"/>
                  <a:gd name="connsiteY21" fmla="*/ 1432560 h 1577340"/>
                  <a:gd name="connsiteX22" fmla="*/ 1097280 w 1325880"/>
                  <a:gd name="connsiteY22" fmla="*/ 1402080 h 1577340"/>
                  <a:gd name="connsiteX23" fmla="*/ 952500 w 1325880"/>
                  <a:gd name="connsiteY23" fmla="*/ 1485900 h 1577340"/>
                  <a:gd name="connsiteX24" fmla="*/ 952500 w 1325880"/>
                  <a:gd name="connsiteY24" fmla="*/ 1562100 h 1577340"/>
                  <a:gd name="connsiteX25" fmla="*/ 929640 w 1325880"/>
                  <a:gd name="connsiteY25" fmla="*/ 1577340 h 1577340"/>
                  <a:gd name="connsiteX26" fmla="*/ 883920 w 1325880"/>
                  <a:gd name="connsiteY26" fmla="*/ 1524000 h 1577340"/>
                  <a:gd name="connsiteX27" fmla="*/ 792480 w 1325880"/>
                  <a:gd name="connsiteY27" fmla="*/ 1493520 h 1577340"/>
                  <a:gd name="connsiteX28" fmla="*/ 784860 w 1325880"/>
                  <a:gd name="connsiteY28" fmla="*/ 1424940 h 1577340"/>
                  <a:gd name="connsiteX29" fmla="*/ 762000 w 1325880"/>
                  <a:gd name="connsiteY29" fmla="*/ 1402080 h 1577340"/>
                  <a:gd name="connsiteX30" fmla="*/ 678180 w 1325880"/>
                  <a:gd name="connsiteY30" fmla="*/ 1386840 h 1577340"/>
                  <a:gd name="connsiteX31" fmla="*/ 647700 w 1325880"/>
                  <a:gd name="connsiteY31" fmla="*/ 1310640 h 1577340"/>
                  <a:gd name="connsiteX32" fmla="*/ 617220 w 1325880"/>
                  <a:gd name="connsiteY32" fmla="*/ 1287780 h 1577340"/>
                  <a:gd name="connsiteX33" fmla="*/ 541020 w 1325880"/>
                  <a:gd name="connsiteY33" fmla="*/ 1310640 h 1577340"/>
                  <a:gd name="connsiteX34" fmla="*/ 541020 w 1325880"/>
                  <a:gd name="connsiteY34" fmla="*/ 1257300 h 1577340"/>
                  <a:gd name="connsiteX35" fmla="*/ 556260 w 1325880"/>
                  <a:gd name="connsiteY35" fmla="*/ 1127760 h 1577340"/>
                  <a:gd name="connsiteX36" fmla="*/ 518160 w 1325880"/>
                  <a:gd name="connsiteY36" fmla="*/ 1059180 h 1577340"/>
                  <a:gd name="connsiteX37" fmla="*/ 419100 w 1325880"/>
                  <a:gd name="connsiteY37" fmla="*/ 1143000 h 1577340"/>
                  <a:gd name="connsiteX38" fmla="*/ 403860 w 1325880"/>
                  <a:gd name="connsiteY38" fmla="*/ 1043940 h 1577340"/>
                  <a:gd name="connsiteX39" fmla="*/ 365760 w 1325880"/>
                  <a:gd name="connsiteY39" fmla="*/ 1051560 h 1577340"/>
                  <a:gd name="connsiteX40" fmla="*/ 335280 w 1325880"/>
                  <a:gd name="connsiteY40" fmla="*/ 1089660 h 1577340"/>
                  <a:gd name="connsiteX41" fmla="*/ 266700 w 1325880"/>
                  <a:gd name="connsiteY41" fmla="*/ 982980 h 1577340"/>
                  <a:gd name="connsiteX42" fmla="*/ 281940 w 1325880"/>
                  <a:gd name="connsiteY42" fmla="*/ 922020 h 1577340"/>
                  <a:gd name="connsiteX43" fmla="*/ 236220 w 1325880"/>
                  <a:gd name="connsiteY43" fmla="*/ 754380 h 1577340"/>
                  <a:gd name="connsiteX44" fmla="*/ 259080 w 1325880"/>
                  <a:gd name="connsiteY44" fmla="*/ 678180 h 1577340"/>
                  <a:gd name="connsiteX45" fmla="*/ 129540 w 1325880"/>
                  <a:gd name="connsiteY45" fmla="*/ 731520 h 1577340"/>
                  <a:gd name="connsiteX46" fmla="*/ 175260 w 1325880"/>
                  <a:gd name="connsiteY46" fmla="*/ 533400 h 1577340"/>
                  <a:gd name="connsiteX47" fmla="*/ 144780 w 1325880"/>
                  <a:gd name="connsiteY47" fmla="*/ 464820 h 1577340"/>
                  <a:gd name="connsiteX48" fmla="*/ 83820 w 1325880"/>
                  <a:gd name="connsiteY48" fmla="*/ 396240 h 1577340"/>
                  <a:gd name="connsiteX49" fmla="*/ 106680 w 1325880"/>
                  <a:gd name="connsiteY49" fmla="*/ 327660 h 1577340"/>
                  <a:gd name="connsiteX50" fmla="*/ 0 w 1325880"/>
                  <a:gd name="connsiteY50" fmla="*/ 304800 h 1577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325880" h="1577340">
                    <a:moveTo>
                      <a:pt x="0" y="304800"/>
                    </a:moveTo>
                    <a:lnTo>
                      <a:pt x="60960" y="243840"/>
                    </a:lnTo>
                    <a:lnTo>
                      <a:pt x="0" y="121920"/>
                    </a:lnTo>
                    <a:lnTo>
                      <a:pt x="137160" y="121920"/>
                    </a:lnTo>
                    <a:lnTo>
                      <a:pt x="259080" y="114300"/>
                    </a:lnTo>
                    <a:lnTo>
                      <a:pt x="419100" y="0"/>
                    </a:lnTo>
                    <a:lnTo>
                      <a:pt x="495300" y="60960"/>
                    </a:lnTo>
                    <a:lnTo>
                      <a:pt x="579120" y="91440"/>
                    </a:lnTo>
                    <a:lnTo>
                      <a:pt x="670560" y="220980"/>
                    </a:lnTo>
                    <a:lnTo>
                      <a:pt x="891540" y="281940"/>
                    </a:lnTo>
                    <a:lnTo>
                      <a:pt x="1150620" y="335280"/>
                    </a:lnTo>
                    <a:lnTo>
                      <a:pt x="1226820" y="502920"/>
                    </a:lnTo>
                    <a:lnTo>
                      <a:pt x="1226820" y="640080"/>
                    </a:lnTo>
                    <a:lnTo>
                      <a:pt x="1165860" y="822960"/>
                    </a:lnTo>
                    <a:lnTo>
                      <a:pt x="1325880" y="883920"/>
                    </a:lnTo>
                    <a:lnTo>
                      <a:pt x="1295400" y="967740"/>
                    </a:lnTo>
                    <a:lnTo>
                      <a:pt x="1264920" y="990600"/>
                    </a:lnTo>
                    <a:lnTo>
                      <a:pt x="1211580" y="1074420"/>
                    </a:lnTo>
                    <a:lnTo>
                      <a:pt x="1272540" y="1173480"/>
                    </a:lnTo>
                    <a:lnTo>
                      <a:pt x="1264920" y="1249680"/>
                    </a:lnTo>
                    <a:lnTo>
                      <a:pt x="1264920" y="1318260"/>
                    </a:lnTo>
                    <a:lnTo>
                      <a:pt x="1127760" y="1432560"/>
                    </a:lnTo>
                    <a:lnTo>
                      <a:pt x="1097280" y="1402080"/>
                    </a:lnTo>
                    <a:lnTo>
                      <a:pt x="952500" y="1485900"/>
                    </a:lnTo>
                    <a:lnTo>
                      <a:pt x="952500" y="1562100"/>
                    </a:lnTo>
                    <a:lnTo>
                      <a:pt x="929640" y="1577340"/>
                    </a:lnTo>
                    <a:lnTo>
                      <a:pt x="883920" y="1524000"/>
                    </a:lnTo>
                    <a:lnTo>
                      <a:pt x="792480" y="1493520"/>
                    </a:lnTo>
                    <a:lnTo>
                      <a:pt x="784860" y="1424940"/>
                    </a:lnTo>
                    <a:lnTo>
                      <a:pt x="762000" y="1402080"/>
                    </a:lnTo>
                    <a:lnTo>
                      <a:pt x="678180" y="1386840"/>
                    </a:lnTo>
                    <a:lnTo>
                      <a:pt x="647700" y="1310640"/>
                    </a:lnTo>
                    <a:lnTo>
                      <a:pt x="617220" y="1287780"/>
                    </a:lnTo>
                    <a:lnTo>
                      <a:pt x="541020" y="1310640"/>
                    </a:lnTo>
                    <a:lnTo>
                      <a:pt x="541020" y="1257300"/>
                    </a:lnTo>
                    <a:lnTo>
                      <a:pt x="556260" y="1127760"/>
                    </a:lnTo>
                    <a:lnTo>
                      <a:pt x="518160" y="1059180"/>
                    </a:lnTo>
                    <a:lnTo>
                      <a:pt x="419100" y="1143000"/>
                    </a:lnTo>
                    <a:lnTo>
                      <a:pt x="403860" y="1043940"/>
                    </a:lnTo>
                    <a:lnTo>
                      <a:pt x="365760" y="1051560"/>
                    </a:lnTo>
                    <a:lnTo>
                      <a:pt x="335280" y="1089660"/>
                    </a:lnTo>
                    <a:lnTo>
                      <a:pt x="266700" y="982980"/>
                    </a:lnTo>
                    <a:lnTo>
                      <a:pt x="281940" y="922020"/>
                    </a:lnTo>
                    <a:lnTo>
                      <a:pt x="236220" y="754380"/>
                    </a:lnTo>
                    <a:lnTo>
                      <a:pt x="259080" y="678180"/>
                    </a:lnTo>
                    <a:lnTo>
                      <a:pt x="129540" y="731520"/>
                    </a:lnTo>
                    <a:lnTo>
                      <a:pt x="175260" y="533400"/>
                    </a:lnTo>
                    <a:lnTo>
                      <a:pt x="144780" y="464820"/>
                    </a:lnTo>
                    <a:lnTo>
                      <a:pt x="83820" y="396240"/>
                    </a:lnTo>
                    <a:lnTo>
                      <a:pt x="106680" y="327660"/>
                    </a:lnTo>
                    <a:lnTo>
                      <a:pt x="0" y="3048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88" name="Freeform 187"/>
              <p:cNvSpPr/>
              <p:nvPr/>
            </p:nvSpPr>
            <p:spPr>
              <a:xfrm>
                <a:off x="3253152" y="1938711"/>
                <a:ext cx="666925" cy="728580"/>
              </a:xfrm>
              <a:custGeom>
                <a:avLst/>
                <a:gdLst>
                  <a:gd name="connsiteX0" fmla="*/ 396240 w 1173480"/>
                  <a:gd name="connsiteY0" fmla="*/ 30480 h 1242060"/>
                  <a:gd name="connsiteX1" fmla="*/ 449580 w 1173480"/>
                  <a:gd name="connsiteY1" fmla="*/ 0 h 1242060"/>
                  <a:gd name="connsiteX2" fmla="*/ 594360 w 1173480"/>
                  <a:gd name="connsiteY2" fmla="*/ 83820 h 1242060"/>
                  <a:gd name="connsiteX3" fmla="*/ 678180 w 1173480"/>
                  <a:gd name="connsiteY3" fmla="*/ 68580 h 1242060"/>
                  <a:gd name="connsiteX4" fmla="*/ 716280 w 1173480"/>
                  <a:gd name="connsiteY4" fmla="*/ 182880 h 1242060"/>
                  <a:gd name="connsiteX5" fmla="*/ 784860 w 1173480"/>
                  <a:gd name="connsiteY5" fmla="*/ 228600 h 1242060"/>
                  <a:gd name="connsiteX6" fmla="*/ 807720 w 1173480"/>
                  <a:gd name="connsiteY6" fmla="*/ 297180 h 1242060"/>
                  <a:gd name="connsiteX7" fmla="*/ 906780 w 1173480"/>
                  <a:gd name="connsiteY7" fmla="*/ 243840 h 1242060"/>
                  <a:gd name="connsiteX8" fmla="*/ 1005840 w 1173480"/>
                  <a:gd name="connsiteY8" fmla="*/ 297180 h 1242060"/>
                  <a:gd name="connsiteX9" fmla="*/ 998220 w 1173480"/>
                  <a:gd name="connsiteY9" fmla="*/ 411480 h 1242060"/>
                  <a:gd name="connsiteX10" fmla="*/ 1074420 w 1173480"/>
                  <a:gd name="connsiteY10" fmla="*/ 472440 h 1242060"/>
                  <a:gd name="connsiteX11" fmla="*/ 1074420 w 1173480"/>
                  <a:gd name="connsiteY11" fmla="*/ 601980 h 1242060"/>
                  <a:gd name="connsiteX12" fmla="*/ 1097280 w 1173480"/>
                  <a:gd name="connsiteY12" fmla="*/ 708660 h 1242060"/>
                  <a:gd name="connsiteX13" fmla="*/ 990600 w 1173480"/>
                  <a:gd name="connsiteY13" fmla="*/ 929640 h 1242060"/>
                  <a:gd name="connsiteX14" fmla="*/ 1143000 w 1173480"/>
                  <a:gd name="connsiteY14" fmla="*/ 982980 h 1242060"/>
                  <a:gd name="connsiteX15" fmla="*/ 1173480 w 1173480"/>
                  <a:gd name="connsiteY15" fmla="*/ 1135380 h 1242060"/>
                  <a:gd name="connsiteX16" fmla="*/ 1043940 w 1173480"/>
                  <a:gd name="connsiteY16" fmla="*/ 1074420 h 1242060"/>
                  <a:gd name="connsiteX17" fmla="*/ 1104900 w 1173480"/>
                  <a:gd name="connsiteY17" fmla="*/ 1188720 h 1242060"/>
                  <a:gd name="connsiteX18" fmla="*/ 998220 w 1173480"/>
                  <a:gd name="connsiteY18" fmla="*/ 1188720 h 1242060"/>
                  <a:gd name="connsiteX19" fmla="*/ 967740 w 1173480"/>
                  <a:gd name="connsiteY19" fmla="*/ 1127760 h 1242060"/>
                  <a:gd name="connsiteX20" fmla="*/ 906780 w 1173480"/>
                  <a:gd name="connsiteY20" fmla="*/ 1158240 h 1242060"/>
                  <a:gd name="connsiteX21" fmla="*/ 693420 w 1173480"/>
                  <a:gd name="connsiteY21" fmla="*/ 1135380 h 1242060"/>
                  <a:gd name="connsiteX22" fmla="*/ 541020 w 1173480"/>
                  <a:gd name="connsiteY22" fmla="*/ 1181100 h 1242060"/>
                  <a:gd name="connsiteX23" fmla="*/ 518160 w 1173480"/>
                  <a:gd name="connsiteY23" fmla="*/ 1242060 h 1242060"/>
                  <a:gd name="connsiteX24" fmla="*/ 213360 w 1173480"/>
                  <a:gd name="connsiteY24" fmla="*/ 937260 h 1242060"/>
                  <a:gd name="connsiteX25" fmla="*/ 91440 w 1173480"/>
                  <a:gd name="connsiteY25" fmla="*/ 982980 h 1242060"/>
                  <a:gd name="connsiteX26" fmla="*/ 0 w 1173480"/>
                  <a:gd name="connsiteY26" fmla="*/ 731520 h 1242060"/>
                  <a:gd name="connsiteX27" fmla="*/ 22860 w 1173480"/>
                  <a:gd name="connsiteY27" fmla="*/ 617220 h 1242060"/>
                  <a:gd name="connsiteX28" fmla="*/ 152400 w 1173480"/>
                  <a:gd name="connsiteY28" fmla="*/ 556260 h 1242060"/>
                  <a:gd name="connsiteX29" fmla="*/ 198120 w 1173480"/>
                  <a:gd name="connsiteY29" fmla="*/ 594360 h 1242060"/>
                  <a:gd name="connsiteX30" fmla="*/ 358140 w 1173480"/>
                  <a:gd name="connsiteY30" fmla="*/ 449580 h 1242060"/>
                  <a:gd name="connsiteX31" fmla="*/ 342900 w 1173480"/>
                  <a:gd name="connsiteY31" fmla="*/ 304800 h 1242060"/>
                  <a:gd name="connsiteX32" fmla="*/ 289560 w 1173480"/>
                  <a:gd name="connsiteY32" fmla="*/ 220980 h 1242060"/>
                  <a:gd name="connsiteX33" fmla="*/ 388620 w 1173480"/>
                  <a:gd name="connsiteY33" fmla="*/ 106680 h 1242060"/>
                  <a:gd name="connsiteX34" fmla="*/ 396240 w 1173480"/>
                  <a:gd name="connsiteY34" fmla="*/ 30480 h 1242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173480" h="1242060">
                    <a:moveTo>
                      <a:pt x="396240" y="30480"/>
                    </a:moveTo>
                    <a:lnTo>
                      <a:pt x="449580" y="0"/>
                    </a:lnTo>
                    <a:lnTo>
                      <a:pt x="594360" y="83820"/>
                    </a:lnTo>
                    <a:lnTo>
                      <a:pt x="678180" y="68580"/>
                    </a:lnTo>
                    <a:lnTo>
                      <a:pt x="716280" y="182880"/>
                    </a:lnTo>
                    <a:lnTo>
                      <a:pt x="784860" y="228600"/>
                    </a:lnTo>
                    <a:lnTo>
                      <a:pt x="807720" y="297180"/>
                    </a:lnTo>
                    <a:lnTo>
                      <a:pt x="906780" y="243840"/>
                    </a:lnTo>
                    <a:lnTo>
                      <a:pt x="1005840" y="297180"/>
                    </a:lnTo>
                    <a:lnTo>
                      <a:pt x="998220" y="411480"/>
                    </a:lnTo>
                    <a:lnTo>
                      <a:pt x="1074420" y="472440"/>
                    </a:lnTo>
                    <a:lnTo>
                      <a:pt x="1074420" y="601980"/>
                    </a:lnTo>
                    <a:lnTo>
                      <a:pt x="1097280" y="708660"/>
                    </a:lnTo>
                    <a:lnTo>
                      <a:pt x="990600" y="929640"/>
                    </a:lnTo>
                    <a:lnTo>
                      <a:pt x="1143000" y="982980"/>
                    </a:lnTo>
                    <a:lnTo>
                      <a:pt x="1173480" y="1135380"/>
                    </a:lnTo>
                    <a:lnTo>
                      <a:pt x="1043940" y="1074420"/>
                    </a:lnTo>
                    <a:lnTo>
                      <a:pt x="1104900" y="1188720"/>
                    </a:lnTo>
                    <a:lnTo>
                      <a:pt x="998220" y="1188720"/>
                    </a:lnTo>
                    <a:lnTo>
                      <a:pt x="967740" y="1127760"/>
                    </a:lnTo>
                    <a:lnTo>
                      <a:pt x="906780" y="1158240"/>
                    </a:lnTo>
                    <a:lnTo>
                      <a:pt x="693420" y="1135380"/>
                    </a:lnTo>
                    <a:lnTo>
                      <a:pt x="541020" y="1181100"/>
                    </a:lnTo>
                    <a:lnTo>
                      <a:pt x="518160" y="1242060"/>
                    </a:lnTo>
                    <a:lnTo>
                      <a:pt x="213360" y="937260"/>
                    </a:lnTo>
                    <a:lnTo>
                      <a:pt x="91440" y="982980"/>
                    </a:lnTo>
                    <a:lnTo>
                      <a:pt x="0" y="731520"/>
                    </a:lnTo>
                    <a:lnTo>
                      <a:pt x="22860" y="617220"/>
                    </a:lnTo>
                    <a:lnTo>
                      <a:pt x="152400" y="556260"/>
                    </a:lnTo>
                    <a:lnTo>
                      <a:pt x="198120" y="594360"/>
                    </a:lnTo>
                    <a:lnTo>
                      <a:pt x="358140" y="449580"/>
                    </a:lnTo>
                    <a:lnTo>
                      <a:pt x="342900" y="304800"/>
                    </a:lnTo>
                    <a:lnTo>
                      <a:pt x="289560" y="220980"/>
                    </a:lnTo>
                    <a:lnTo>
                      <a:pt x="388620" y="106680"/>
                    </a:lnTo>
                    <a:lnTo>
                      <a:pt x="396240" y="3048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89" name="Freeform 188"/>
              <p:cNvSpPr/>
              <p:nvPr/>
            </p:nvSpPr>
            <p:spPr>
              <a:xfrm>
                <a:off x="3824801" y="2090685"/>
                <a:ext cx="558658" cy="572136"/>
              </a:xfrm>
              <a:custGeom>
                <a:avLst/>
                <a:gdLst>
                  <a:gd name="connsiteX0" fmla="*/ 76200 w 982980"/>
                  <a:gd name="connsiteY0" fmla="*/ 190500 h 975360"/>
                  <a:gd name="connsiteX1" fmla="*/ 205740 w 982980"/>
                  <a:gd name="connsiteY1" fmla="*/ 205740 h 975360"/>
                  <a:gd name="connsiteX2" fmla="*/ 320040 w 982980"/>
                  <a:gd name="connsiteY2" fmla="*/ 160020 h 975360"/>
                  <a:gd name="connsiteX3" fmla="*/ 381000 w 982980"/>
                  <a:gd name="connsiteY3" fmla="*/ 167640 h 975360"/>
                  <a:gd name="connsiteX4" fmla="*/ 624840 w 982980"/>
                  <a:gd name="connsiteY4" fmla="*/ 22860 h 975360"/>
                  <a:gd name="connsiteX5" fmla="*/ 632460 w 982980"/>
                  <a:gd name="connsiteY5" fmla="*/ 0 h 975360"/>
                  <a:gd name="connsiteX6" fmla="*/ 807720 w 982980"/>
                  <a:gd name="connsiteY6" fmla="*/ 152400 h 975360"/>
                  <a:gd name="connsiteX7" fmla="*/ 769620 w 982980"/>
                  <a:gd name="connsiteY7" fmla="*/ 350520 h 975360"/>
                  <a:gd name="connsiteX8" fmla="*/ 982980 w 982980"/>
                  <a:gd name="connsiteY8" fmla="*/ 495300 h 975360"/>
                  <a:gd name="connsiteX9" fmla="*/ 960120 w 982980"/>
                  <a:gd name="connsiteY9" fmla="*/ 594360 h 975360"/>
                  <a:gd name="connsiteX10" fmla="*/ 807720 w 982980"/>
                  <a:gd name="connsiteY10" fmla="*/ 754380 h 975360"/>
                  <a:gd name="connsiteX11" fmla="*/ 807720 w 982980"/>
                  <a:gd name="connsiteY11" fmla="*/ 754380 h 975360"/>
                  <a:gd name="connsiteX12" fmla="*/ 693420 w 982980"/>
                  <a:gd name="connsiteY12" fmla="*/ 815340 h 975360"/>
                  <a:gd name="connsiteX13" fmla="*/ 762000 w 982980"/>
                  <a:gd name="connsiteY13" fmla="*/ 929640 h 975360"/>
                  <a:gd name="connsiteX14" fmla="*/ 723900 w 982980"/>
                  <a:gd name="connsiteY14" fmla="*/ 929640 h 975360"/>
                  <a:gd name="connsiteX15" fmla="*/ 723900 w 982980"/>
                  <a:gd name="connsiteY15" fmla="*/ 929640 h 975360"/>
                  <a:gd name="connsiteX16" fmla="*/ 640080 w 982980"/>
                  <a:gd name="connsiteY16" fmla="*/ 922020 h 975360"/>
                  <a:gd name="connsiteX17" fmla="*/ 495300 w 982980"/>
                  <a:gd name="connsiteY17" fmla="*/ 800100 h 975360"/>
                  <a:gd name="connsiteX18" fmla="*/ 365760 w 982980"/>
                  <a:gd name="connsiteY18" fmla="*/ 868680 h 975360"/>
                  <a:gd name="connsiteX19" fmla="*/ 304800 w 982980"/>
                  <a:gd name="connsiteY19" fmla="*/ 975360 h 975360"/>
                  <a:gd name="connsiteX20" fmla="*/ 198120 w 982980"/>
                  <a:gd name="connsiteY20" fmla="*/ 861060 h 975360"/>
                  <a:gd name="connsiteX21" fmla="*/ 144780 w 982980"/>
                  <a:gd name="connsiteY21" fmla="*/ 762000 h 975360"/>
                  <a:gd name="connsiteX22" fmla="*/ 0 w 982980"/>
                  <a:gd name="connsiteY22" fmla="*/ 670560 h 975360"/>
                  <a:gd name="connsiteX23" fmla="*/ 106680 w 982980"/>
                  <a:gd name="connsiteY23" fmla="*/ 472440 h 975360"/>
                  <a:gd name="connsiteX24" fmla="*/ 91440 w 982980"/>
                  <a:gd name="connsiteY24" fmla="*/ 320040 h 975360"/>
                  <a:gd name="connsiteX25" fmla="*/ 76200 w 982980"/>
                  <a:gd name="connsiteY25" fmla="*/ 190500 h 975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82980" h="975360">
                    <a:moveTo>
                      <a:pt x="76200" y="190500"/>
                    </a:moveTo>
                    <a:lnTo>
                      <a:pt x="205740" y="205740"/>
                    </a:lnTo>
                    <a:lnTo>
                      <a:pt x="320040" y="160020"/>
                    </a:lnTo>
                    <a:lnTo>
                      <a:pt x="381000" y="167640"/>
                    </a:lnTo>
                    <a:lnTo>
                      <a:pt x="624840" y="22860"/>
                    </a:lnTo>
                    <a:lnTo>
                      <a:pt x="632460" y="0"/>
                    </a:lnTo>
                    <a:lnTo>
                      <a:pt x="807720" y="152400"/>
                    </a:lnTo>
                    <a:lnTo>
                      <a:pt x="769620" y="350520"/>
                    </a:lnTo>
                    <a:lnTo>
                      <a:pt x="982980" y="495300"/>
                    </a:lnTo>
                    <a:lnTo>
                      <a:pt x="960120" y="594360"/>
                    </a:lnTo>
                    <a:lnTo>
                      <a:pt x="807720" y="754380"/>
                    </a:lnTo>
                    <a:lnTo>
                      <a:pt x="807720" y="754380"/>
                    </a:lnTo>
                    <a:lnTo>
                      <a:pt x="693420" y="815340"/>
                    </a:lnTo>
                    <a:lnTo>
                      <a:pt x="762000" y="929640"/>
                    </a:lnTo>
                    <a:lnTo>
                      <a:pt x="723900" y="929640"/>
                    </a:lnTo>
                    <a:lnTo>
                      <a:pt x="723900" y="929640"/>
                    </a:lnTo>
                    <a:lnTo>
                      <a:pt x="640080" y="922020"/>
                    </a:lnTo>
                    <a:lnTo>
                      <a:pt x="495300" y="800100"/>
                    </a:lnTo>
                    <a:lnTo>
                      <a:pt x="365760" y="868680"/>
                    </a:lnTo>
                    <a:lnTo>
                      <a:pt x="304800" y="975360"/>
                    </a:lnTo>
                    <a:lnTo>
                      <a:pt x="198120" y="861060"/>
                    </a:lnTo>
                    <a:lnTo>
                      <a:pt x="144780" y="762000"/>
                    </a:lnTo>
                    <a:lnTo>
                      <a:pt x="0" y="670560"/>
                    </a:lnTo>
                    <a:lnTo>
                      <a:pt x="106680" y="472440"/>
                    </a:lnTo>
                    <a:lnTo>
                      <a:pt x="91440" y="320040"/>
                    </a:lnTo>
                    <a:lnTo>
                      <a:pt x="76200" y="1905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0" name="Freeform 189"/>
              <p:cNvSpPr/>
              <p:nvPr/>
            </p:nvSpPr>
            <p:spPr>
              <a:xfrm>
                <a:off x="4288185" y="2309705"/>
                <a:ext cx="809838" cy="616836"/>
              </a:xfrm>
              <a:custGeom>
                <a:avLst/>
                <a:gdLst>
                  <a:gd name="connsiteX0" fmla="*/ 198120 w 1424940"/>
                  <a:gd name="connsiteY0" fmla="*/ 137160 h 1051560"/>
                  <a:gd name="connsiteX1" fmla="*/ 281940 w 1424940"/>
                  <a:gd name="connsiteY1" fmla="*/ 83820 h 1051560"/>
                  <a:gd name="connsiteX2" fmla="*/ 426720 w 1424940"/>
                  <a:gd name="connsiteY2" fmla="*/ 0 h 1051560"/>
                  <a:gd name="connsiteX3" fmla="*/ 701040 w 1424940"/>
                  <a:gd name="connsiteY3" fmla="*/ 144780 h 1051560"/>
                  <a:gd name="connsiteX4" fmla="*/ 800100 w 1424940"/>
                  <a:gd name="connsiteY4" fmla="*/ 83820 h 1051560"/>
                  <a:gd name="connsiteX5" fmla="*/ 1120140 w 1424940"/>
                  <a:gd name="connsiteY5" fmla="*/ 243840 h 1051560"/>
                  <a:gd name="connsiteX6" fmla="*/ 1424940 w 1424940"/>
                  <a:gd name="connsiteY6" fmla="*/ 434340 h 1051560"/>
                  <a:gd name="connsiteX7" fmla="*/ 1249680 w 1424940"/>
                  <a:gd name="connsiteY7" fmla="*/ 533400 h 1051560"/>
                  <a:gd name="connsiteX8" fmla="*/ 1112520 w 1424940"/>
                  <a:gd name="connsiteY8" fmla="*/ 670560 h 1051560"/>
                  <a:gd name="connsiteX9" fmla="*/ 1120140 w 1424940"/>
                  <a:gd name="connsiteY9" fmla="*/ 739140 h 1051560"/>
                  <a:gd name="connsiteX10" fmla="*/ 967740 w 1424940"/>
                  <a:gd name="connsiteY10" fmla="*/ 769620 h 1051560"/>
                  <a:gd name="connsiteX11" fmla="*/ 982980 w 1424940"/>
                  <a:gd name="connsiteY11" fmla="*/ 822960 h 1051560"/>
                  <a:gd name="connsiteX12" fmla="*/ 1150620 w 1424940"/>
                  <a:gd name="connsiteY12" fmla="*/ 845820 h 1051560"/>
                  <a:gd name="connsiteX13" fmla="*/ 1150620 w 1424940"/>
                  <a:gd name="connsiteY13" fmla="*/ 845820 h 1051560"/>
                  <a:gd name="connsiteX14" fmla="*/ 982980 w 1424940"/>
                  <a:gd name="connsiteY14" fmla="*/ 952500 h 1051560"/>
                  <a:gd name="connsiteX15" fmla="*/ 998220 w 1424940"/>
                  <a:gd name="connsiteY15" fmla="*/ 1013460 h 1051560"/>
                  <a:gd name="connsiteX16" fmla="*/ 914400 w 1424940"/>
                  <a:gd name="connsiteY16" fmla="*/ 1051560 h 1051560"/>
                  <a:gd name="connsiteX17" fmla="*/ 830580 w 1424940"/>
                  <a:gd name="connsiteY17" fmla="*/ 952500 h 1051560"/>
                  <a:gd name="connsiteX18" fmla="*/ 830580 w 1424940"/>
                  <a:gd name="connsiteY18" fmla="*/ 845820 h 1051560"/>
                  <a:gd name="connsiteX19" fmla="*/ 624840 w 1424940"/>
                  <a:gd name="connsiteY19" fmla="*/ 769620 h 1051560"/>
                  <a:gd name="connsiteX20" fmla="*/ 457200 w 1424940"/>
                  <a:gd name="connsiteY20" fmla="*/ 807720 h 1051560"/>
                  <a:gd name="connsiteX21" fmla="*/ 320040 w 1424940"/>
                  <a:gd name="connsiteY21" fmla="*/ 678180 h 1051560"/>
                  <a:gd name="connsiteX22" fmla="*/ 327660 w 1424940"/>
                  <a:gd name="connsiteY22" fmla="*/ 632460 h 1051560"/>
                  <a:gd name="connsiteX23" fmla="*/ 228600 w 1424940"/>
                  <a:gd name="connsiteY23" fmla="*/ 609600 h 1051560"/>
                  <a:gd name="connsiteX24" fmla="*/ 182880 w 1424940"/>
                  <a:gd name="connsiteY24" fmla="*/ 647700 h 1051560"/>
                  <a:gd name="connsiteX25" fmla="*/ 83820 w 1424940"/>
                  <a:gd name="connsiteY25" fmla="*/ 632460 h 1051560"/>
                  <a:gd name="connsiteX26" fmla="*/ 106680 w 1424940"/>
                  <a:gd name="connsiteY26" fmla="*/ 571500 h 1051560"/>
                  <a:gd name="connsiteX27" fmla="*/ 137160 w 1424940"/>
                  <a:gd name="connsiteY27" fmla="*/ 502920 h 1051560"/>
                  <a:gd name="connsiteX28" fmla="*/ 76200 w 1424940"/>
                  <a:gd name="connsiteY28" fmla="*/ 426720 h 1051560"/>
                  <a:gd name="connsiteX29" fmla="*/ 0 w 1424940"/>
                  <a:gd name="connsiteY29" fmla="*/ 441960 h 1051560"/>
                  <a:gd name="connsiteX30" fmla="*/ 15240 w 1424940"/>
                  <a:gd name="connsiteY30" fmla="*/ 381000 h 1051560"/>
                  <a:gd name="connsiteX31" fmla="*/ 152400 w 1424940"/>
                  <a:gd name="connsiteY31" fmla="*/ 220980 h 1051560"/>
                  <a:gd name="connsiteX32" fmla="*/ 198120 w 1424940"/>
                  <a:gd name="connsiteY32" fmla="*/ 137160 h 1051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424940" h="1051560">
                    <a:moveTo>
                      <a:pt x="198120" y="137160"/>
                    </a:moveTo>
                    <a:lnTo>
                      <a:pt x="281940" y="83820"/>
                    </a:lnTo>
                    <a:lnTo>
                      <a:pt x="426720" y="0"/>
                    </a:lnTo>
                    <a:lnTo>
                      <a:pt x="701040" y="144780"/>
                    </a:lnTo>
                    <a:lnTo>
                      <a:pt x="800100" y="83820"/>
                    </a:lnTo>
                    <a:lnTo>
                      <a:pt x="1120140" y="243840"/>
                    </a:lnTo>
                    <a:lnTo>
                      <a:pt x="1424940" y="434340"/>
                    </a:lnTo>
                    <a:lnTo>
                      <a:pt x="1249680" y="533400"/>
                    </a:lnTo>
                    <a:lnTo>
                      <a:pt x="1112520" y="670560"/>
                    </a:lnTo>
                    <a:lnTo>
                      <a:pt x="1120140" y="739140"/>
                    </a:lnTo>
                    <a:lnTo>
                      <a:pt x="967740" y="769620"/>
                    </a:lnTo>
                    <a:lnTo>
                      <a:pt x="982980" y="822960"/>
                    </a:lnTo>
                    <a:lnTo>
                      <a:pt x="1150620" y="845820"/>
                    </a:lnTo>
                    <a:lnTo>
                      <a:pt x="1150620" y="845820"/>
                    </a:lnTo>
                    <a:lnTo>
                      <a:pt x="982980" y="952500"/>
                    </a:lnTo>
                    <a:lnTo>
                      <a:pt x="998220" y="1013460"/>
                    </a:lnTo>
                    <a:lnTo>
                      <a:pt x="914400" y="1051560"/>
                    </a:lnTo>
                    <a:lnTo>
                      <a:pt x="830580" y="952500"/>
                    </a:lnTo>
                    <a:lnTo>
                      <a:pt x="830580" y="845820"/>
                    </a:lnTo>
                    <a:lnTo>
                      <a:pt x="624840" y="769620"/>
                    </a:lnTo>
                    <a:lnTo>
                      <a:pt x="457200" y="807720"/>
                    </a:lnTo>
                    <a:lnTo>
                      <a:pt x="320040" y="678180"/>
                    </a:lnTo>
                    <a:lnTo>
                      <a:pt x="327660" y="632460"/>
                    </a:lnTo>
                    <a:lnTo>
                      <a:pt x="228600" y="609600"/>
                    </a:lnTo>
                    <a:lnTo>
                      <a:pt x="182880" y="647700"/>
                    </a:lnTo>
                    <a:lnTo>
                      <a:pt x="83820" y="632460"/>
                    </a:lnTo>
                    <a:lnTo>
                      <a:pt x="106680" y="571500"/>
                    </a:lnTo>
                    <a:lnTo>
                      <a:pt x="137160" y="502920"/>
                    </a:lnTo>
                    <a:lnTo>
                      <a:pt x="76200" y="426720"/>
                    </a:lnTo>
                    <a:lnTo>
                      <a:pt x="0" y="441960"/>
                    </a:lnTo>
                    <a:lnTo>
                      <a:pt x="15240" y="381000"/>
                    </a:lnTo>
                    <a:lnTo>
                      <a:pt x="152400" y="220980"/>
                    </a:lnTo>
                    <a:lnTo>
                      <a:pt x="198120" y="1371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1" name="Freeform 190"/>
              <p:cNvSpPr/>
              <p:nvPr/>
            </p:nvSpPr>
            <p:spPr>
              <a:xfrm>
                <a:off x="4851172" y="2425920"/>
                <a:ext cx="580311" cy="536378"/>
              </a:xfrm>
              <a:custGeom>
                <a:avLst/>
                <a:gdLst>
                  <a:gd name="connsiteX0" fmla="*/ 434340 w 1021080"/>
                  <a:gd name="connsiteY0" fmla="*/ 228600 h 914400"/>
                  <a:gd name="connsiteX1" fmla="*/ 502920 w 1021080"/>
                  <a:gd name="connsiteY1" fmla="*/ 182880 h 914400"/>
                  <a:gd name="connsiteX2" fmla="*/ 632460 w 1021080"/>
                  <a:gd name="connsiteY2" fmla="*/ 228600 h 914400"/>
                  <a:gd name="connsiteX3" fmla="*/ 723900 w 1021080"/>
                  <a:gd name="connsiteY3" fmla="*/ 76200 h 914400"/>
                  <a:gd name="connsiteX4" fmla="*/ 883920 w 1021080"/>
                  <a:gd name="connsiteY4" fmla="*/ 45720 h 914400"/>
                  <a:gd name="connsiteX5" fmla="*/ 914400 w 1021080"/>
                  <a:gd name="connsiteY5" fmla="*/ 0 h 914400"/>
                  <a:gd name="connsiteX6" fmla="*/ 944880 w 1021080"/>
                  <a:gd name="connsiteY6" fmla="*/ 312420 h 914400"/>
                  <a:gd name="connsiteX7" fmla="*/ 899160 w 1021080"/>
                  <a:gd name="connsiteY7" fmla="*/ 419100 h 914400"/>
                  <a:gd name="connsiteX8" fmla="*/ 952500 w 1021080"/>
                  <a:gd name="connsiteY8" fmla="*/ 457200 h 914400"/>
                  <a:gd name="connsiteX9" fmla="*/ 982980 w 1021080"/>
                  <a:gd name="connsiteY9" fmla="*/ 579120 h 914400"/>
                  <a:gd name="connsiteX10" fmla="*/ 1021080 w 1021080"/>
                  <a:gd name="connsiteY10" fmla="*/ 678180 h 914400"/>
                  <a:gd name="connsiteX11" fmla="*/ 922020 w 1021080"/>
                  <a:gd name="connsiteY11" fmla="*/ 762000 h 914400"/>
                  <a:gd name="connsiteX12" fmla="*/ 1005840 w 1021080"/>
                  <a:gd name="connsiteY12" fmla="*/ 815340 h 914400"/>
                  <a:gd name="connsiteX13" fmla="*/ 975360 w 1021080"/>
                  <a:gd name="connsiteY13" fmla="*/ 891540 h 914400"/>
                  <a:gd name="connsiteX14" fmla="*/ 914400 w 1021080"/>
                  <a:gd name="connsiteY14" fmla="*/ 815340 h 914400"/>
                  <a:gd name="connsiteX15" fmla="*/ 701040 w 1021080"/>
                  <a:gd name="connsiteY15" fmla="*/ 769620 h 914400"/>
                  <a:gd name="connsiteX16" fmla="*/ 518160 w 1021080"/>
                  <a:gd name="connsiteY16" fmla="*/ 777240 h 914400"/>
                  <a:gd name="connsiteX17" fmla="*/ 457200 w 1021080"/>
                  <a:gd name="connsiteY17" fmla="*/ 731520 h 914400"/>
                  <a:gd name="connsiteX18" fmla="*/ 388620 w 1021080"/>
                  <a:gd name="connsiteY18" fmla="*/ 883920 h 914400"/>
                  <a:gd name="connsiteX19" fmla="*/ 251460 w 1021080"/>
                  <a:gd name="connsiteY19" fmla="*/ 914400 h 914400"/>
                  <a:gd name="connsiteX20" fmla="*/ 30480 w 1021080"/>
                  <a:gd name="connsiteY20" fmla="*/ 838200 h 914400"/>
                  <a:gd name="connsiteX21" fmla="*/ 0 w 1021080"/>
                  <a:gd name="connsiteY21" fmla="*/ 777240 h 914400"/>
                  <a:gd name="connsiteX22" fmla="*/ 152400 w 1021080"/>
                  <a:gd name="connsiteY22" fmla="*/ 655320 h 914400"/>
                  <a:gd name="connsiteX23" fmla="*/ 0 w 1021080"/>
                  <a:gd name="connsiteY23" fmla="*/ 617220 h 914400"/>
                  <a:gd name="connsiteX24" fmla="*/ 0 w 1021080"/>
                  <a:gd name="connsiteY24" fmla="*/ 571500 h 914400"/>
                  <a:gd name="connsiteX25" fmla="*/ 144780 w 1021080"/>
                  <a:gd name="connsiteY25" fmla="*/ 548640 h 914400"/>
                  <a:gd name="connsiteX26" fmla="*/ 129540 w 1021080"/>
                  <a:gd name="connsiteY26" fmla="*/ 472440 h 914400"/>
                  <a:gd name="connsiteX27" fmla="*/ 304800 w 1021080"/>
                  <a:gd name="connsiteY27" fmla="*/ 289560 h 914400"/>
                  <a:gd name="connsiteX28" fmla="*/ 434340 w 1021080"/>
                  <a:gd name="connsiteY28" fmla="*/ 2286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21080" h="914400">
                    <a:moveTo>
                      <a:pt x="434340" y="228600"/>
                    </a:moveTo>
                    <a:lnTo>
                      <a:pt x="502920" y="182880"/>
                    </a:lnTo>
                    <a:lnTo>
                      <a:pt x="632460" y="228600"/>
                    </a:lnTo>
                    <a:lnTo>
                      <a:pt x="723900" y="76200"/>
                    </a:lnTo>
                    <a:lnTo>
                      <a:pt x="883920" y="45720"/>
                    </a:lnTo>
                    <a:lnTo>
                      <a:pt x="914400" y="0"/>
                    </a:lnTo>
                    <a:lnTo>
                      <a:pt x="944880" y="312420"/>
                    </a:lnTo>
                    <a:lnTo>
                      <a:pt x="899160" y="419100"/>
                    </a:lnTo>
                    <a:lnTo>
                      <a:pt x="952500" y="457200"/>
                    </a:lnTo>
                    <a:lnTo>
                      <a:pt x="982980" y="579120"/>
                    </a:lnTo>
                    <a:lnTo>
                      <a:pt x="1021080" y="678180"/>
                    </a:lnTo>
                    <a:lnTo>
                      <a:pt x="922020" y="762000"/>
                    </a:lnTo>
                    <a:lnTo>
                      <a:pt x="1005840" y="815340"/>
                    </a:lnTo>
                    <a:lnTo>
                      <a:pt x="975360" y="891540"/>
                    </a:lnTo>
                    <a:lnTo>
                      <a:pt x="914400" y="815340"/>
                    </a:lnTo>
                    <a:lnTo>
                      <a:pt x="701040" y="769620"/>
                    </a:lnTo>
                    <a:lnTo>
                      <a:pt x="518160" y="777240"/>
                    </a:lnTo>
                    <a:lnTo>
                      <a:pt x="457200" y="731520"/>
                    </a:lnTo>
                    <a:lnTo>
                      <a:pt x="388620" y="883920"/>
                    </a:lnTo>
                    <a:lnTo>
                      <a:pt x="251460" y="914400"/>
                    </a:lnTo>
                    <a:lnTo>
                      <a:pt x="30480" y="838200"/>
                    </a:lnTo>
                    <a:lnTo>
                      <a:pt x="0" y="777240"/>
                    </a:lnTo>
                    <a:lnTo>
                      <a:pt x="152400" y="655320"/>
                    </a:lnTo>
                    <a:lnTo>
                      <a:pt x="0" y="617220"/>
                    </a:lnTo>
                    <a:lnTo>
                      <a:pt x="0" y="571500"/>
                    </a:lnTo>
                    <a:lnTo>
                      <a:pt x="144780" y="548640"/>
                    </a:lnTo>
                    <a:lnTo>
                      <a:pt x="129540" y="472440"/>
                    </a:lnTo>
                    <a:lnTo>
                      <a:pt x="304800" y="289560"/>
                    </a:lnTo>
                    <a:lnTo>
                      <a:pt x="434340" y="2286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2" name="Freeform 191"/>
              <p:cNvSpPr/>
              <p:nvPr/>
            </p:nvSpPr>
            <p:spPr>
              <a:xfrm>
                <a:off x="2742132" y="2287355"/>
                <a:ext cx="666925" cy="335236"/>
              </a:xfrm>
              <a:custGeom>
                <a:avLst/>
                <a:gdLst>
                  <a:gd name="connsiteX0" fmla="*/ 731520 w 1173480"/>
                  <a:gd name="connsiteY0" fmla="*/ 53340 h 571500"/>
                  <a:gd name="connsiteX1" fmla="*/ 617220 w 1173480"/>
                  <a:gd name="connsiteY1" fmla="*/ 38100 h 571500"/>
                  <a:gd name="connsiteX2" fmla="*/ 487680 w 1173480"/>
                  <a:gd name="connsiteY2" fmla="*/ 60960 h 571500"/>
                  <a:gd name="connsiteX3" fmla="*/ 381000 w 1173480"/>
                  <a:gd name="connsiteY3" fmla="*/ 38100 h 571500"/>
                  <a:gd name="connsiteX4" fmla="*/ 350520 w 1173480"/>
                  <a:gd name="connsiteY4" fmla="*/ 0 h 571500"/>
                  <a:gd name="connsiteX5" fmla="*/ 251460 w 1173480"/>
                  <a:gd name="connsiteY5" fmla="*/ 7620 h 571500"/>
                  <a:gd name="connsiteX6" fmla="*/ 205740 w 1173480"/>
                  <a:gd name="connsiteY6" fmla="*/ 190500 h 571500"/>
                  <a:gd name="connsiteX7" fmla="*/ 137160 w 1173480"/>
                  <a:gd name="connsiteY7" fmla="*/ 152400 h 571500"/>
                  <a:gd name="connsiteX8" fmla="*/ 22860 w 1173480"/>
                  <a:gd name="connsiteY8" fmla="*/ 167640 h 571500"/>
                  <a:gd name="connsiteX9" fmla="*/ 0 w 1173480"/>
                  <a:gd name="connsiteY9" fmla="*/ 289560 h 571500"/>
                  <a:gd name="connsiteX10" fmla="*/ 198120 w 1173480"/>
                  <a:gd name="connsiteY10" fmla="*/ 335280 h 571500"/>
                  <a:gd name="connsiteX11" fmla="*/ 228600 w 1173480"/>
                  <a:gd name="connsiteY11" fmla="*/ 403860 h 571500"/>
                  <a:gd name="connsiteX12" fmla="*/ 350520 w 1173480"/>
                  <a:gd name="connsiteY12" fmla="*/ 434340 h 571500"/>
                  <a:gd name="connsiteX13" fmla="*/ 464820 w 1173480"/>
                  <a:gd name="connsiteY13" fmla="*/ 434340 h 571500"/>
                  <a:gd name="connsiteX14" fmla="*/ 518160 w 1173480"/>
                  <a:gd name="connsiteY14" fmla="*/ 518160 h 571500"/>
                  <a:gd name="connsiteX15" fmla="*/ 693420 w 1173480"/>
                  <a:gd name="connsiteY15" fmla="*/ 556260 h 571500"/>
                  <a:gd name="connsiteX16" fmla="*/ 739140 w 1173480"/>
                  <a:gd name="connsiteY16" fmla="*/ 441960 h 571500"/>
                  <a:gd name="connsiteX17" fmla="*/ 929640 w 1173480"/>
                  <a:gd name="connsiteY17" fmla="*/ 518160 h 571500"/>
                  <a:gd name="connsiteX18" fmla="*/ 1074420 w 1173480"/>
                  <a:gd name="connsiteY18" fmla="*/ 571500 h 571500"/>
                  <a:gd name="connsiteX19" fmla="*/ 1158240 w 1173480"/>
                  <a:gd name="connsiteY19" fmla="*/ 495300 h 571500"/>
                  <a:gd name="connsiteX20" fmla="*/ 1173480 w 1173480"/>
                  <a:gd name="connsiteY20" fmla="*/ 419100 h 571500"/>
                  <a:gd name="connsiteX21" fmla="*/ 1120140 w 1173480"/>
                  <a:gd name="connsiteY21" fmla="*/ 358140 h 571500"/>
                  <a:gd name="connsiteX22" fmla="*/ 1005840 w 1173480"/>
                  <a:gd name="connsiteY22" fmla="*/ 388620 h 571500"/>
                  <a:gd name="connsiteX23" fmla="*/ 906780 w 1173480"/>
                  <a:gd name="connsiteY23" fmla="*/ 129540 h 571500"/>
                  <a:gd name="connsiteX24" fmla="*/ 853440 w 1173480"/>
                  <a:gd name="connsiteY24" fmla="*/ 76200 h 571500"/>
                  <a:gd name="connsiteX25" fmla="*/ 731520 w 1173480"/>
                  <a:gd name="connsiteY25" fmla="*/ 53340 h 57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173480" h="571500">
                    <a:moveTo>
                      <a:pt x="731520" y="53340"/>
                    </a:moveTo>
                    <a:lnTo>
                      <a:pt x="617220" y="38100"/>
                    </a:lnTo>
                    <a:lnTo>
                      <a:pt x="487680" y="60960"/>
                    </a:lnTo>
                    <a:lnTo>
                      <a:pt x="381000" y="38100"/>
                    </a:lnTo>
                    <a:lnTo>
                      <a:pt x="350520" y="0"/>
                    </a:lnTo>
                    <a:lnTo>
                      <a:pt x="251460" y="7620"/>
                    </a:lnTo>
                    <a:lnTo>
                      <a:pt x="205740" y="190500"/>
                    </a:lnTo>
                    <a:lnTo>
                      <a:pt x="137160" y="152400"/>
                    </a:lnTo>
                    <a:lnTo>
                      <a:pt x="22860" y="167640"/>
                    </a:lnTo>
                    <a:lnTo>
                      <a:pt x="0" y="289560"/>
                    </a:lnTo>
                    <a:lnTo>
                      <a:pt x="198120" y="335280"/>
                    </a:lnTo>
                    <a:lnTo>
                      <a:pt x="228600" y="403860"/>
                    </a:lnTo>
                    <a:lnTo>
                      <a:pt x="350520" y="434340"/>
                    </a:lnTo>
                    <a:lnTo>
                      <a:pt x="464820" y="434340"/>
                    </a:lnTo>
                    <a:lnTo>
                      <a:pt x="518160" y="518160"/>
                    </a:lnTo>
                    <a:lnTo>
                      <a:pt x="693420" y="556260"/>
                    </a:lnTo>
                    <a:lnTo>
                      <a:pt x="739140" y="441960"/>
                    </a:lnTo>
                    <a:lnTo>
                      <a:pt x="929640" y="518160"/>
                    </a:lnTo>
                    <a:lnTo>
                      <a:pt x="1074420" y="571500"/>
                    </a:lnTo>
                    <a:lnTo>
                      <a:pt x="1158240" y="495300"/>
                    </a:lnTo>
                    <a:lnTo>
                      <a:pt x="1173480" y="419100"/>
                    </a:lnTo>
                    <a:lnTo>
                      <a:pt x="1120140" y="358140"/>
                    </a:lnTo>
                    <a:lnTo>
                      <a:pt x="1005840" y="388620"/>
                    </a:lnTo>
                    <a:lnTo>
                      <a:pt x="906780" y="129540"/>
                    </a:lnTo>
                    <a:lnTo>
                      <a:pt x="853440" y="76200"/>
                    </a:lnTo>
                    <a:lnTo>
                      <a:pt x="731520" y="533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3" name="Freeform 192"/>
              <p:cNvSpPr/>
              <p:nvPr/>
            </p:nvSpPr>
            <p:spPr>
              <a:xfrm>
                <a:off x="2807092" y="2546604"/>
                <a:ext cx="554327" cy="505089"/>
              </a:xfrm>
              <a:custGeom>
                <a:avLst/>
                <a:gdLst>
                  <a:gd name="connsiteX0" fmla="*/ 914400 w 975360"/>
                  <a:gd name="connsiteY0" fmla="*/ 121920 h 861060"/>
                  <a:gd name="connsiteX1" fmla="*/ 975360 w 975360"/>
                  <a:gd name="connsiteY1" fmla="*/ 266700 h 861060"/>
                  <a:gd name="connsiteX2" fmla="*/ 899160 w 975360"/>
                  <a:gd name="connsiteY2" fmla="*/ 327660 h 861060"/>
                  <a:gd name="connsiteX3" fmla="*/ 891540 w 975360"/>
                  <a:gd name="connsiteY3" fmla="*/ 388620 h 861060"/>
                  <a:gd name="connsiteX4" fmla="*/ 861060 w 975360"/>
                  <a:gd name="connsiteY4" fmla="*/ 426720 h 861060"/>
                  <a:gd name="connsiteX5" fmla="*/ 883920 w 975360"/>
                  <a:gd name="connsiteY5" fmla="*/ 487680 h 861060"/>
                  <a:gd name="connsiteX6" fmla="*/ 830580 w 975360"/>
                  <a:gd name="connsiteY6" fmla="*/ 594360 h 861060"/>
                  <a:gd name="connsiteX7" fmla="*/ 632460 w 975360"/>
                  <a:gd name="connsiteY7" fmla="*/ 563880 h 861060"/>
                  <a:gd name="connsiteX8" fmla="*/ 685800 w 975360"/>
                  <a:gd name="connsiteY8" fmla="*/ 670560 h 861060"/>
                  <a:gd name="connsiteX9" fmla="*/ 693420 w 975360"/>
                  <a:gd name="connsiteY9" fmla="*/ 784860 h 861060"/>
                  <a:gd name="connsiteX10" fmla="*/ 693420 w 975360"/>
                  <a:gd name="connsiteY10" fmla="*/ 861060 h 861060"/>
                  <a:gd name="connsiteX11" fmla="*/ 563880 w 975360"/>
                  <a:gd name="connsiteY11" fmla="*/ 861060 h 861060"/>
                  <a:gd name="connsiteX12" fmla="*/ 464820 w 975360"/>
                  <a:gd name="connsiteY12" fmla="*/ 746760 h 861060"/>
                  <a:gd name="connsiteX13" fmla="*/ 220980 w 975360"/>
                  <a:gd name="connsiteY13" fmla="*/ 632460 h 861060"/>
                  <a:gd name="connsiteX14" fmla="*/ 220980 w 975360"/>
                  <a:gd name="connsiteY14" fmla="*/ 632460 h 861060"/>
                  <a:gd name="connsiteX15" fmla="*/ 114300 w 975360"/>
                  <a:gd name="connsiteY15" fmla="*/ 441960 h 861060"/>
                  <a:gd name="connsiteX16" fmla="*/ 53340 w 975360"/>
                  <a:gd name="connsiteY16" fmla="*/ 434340 h 861060"/>
                  <a:gd name="connsiteX17" fmla="*/ 60960 w 975360"/>
                  <a:gd name="connsiteY17" fmla="*/ 396240 h 861060"/>
                  <a:gd name="connsiteX18" fmla="*/ 30480 w 975360"/>
                  <a:gd name="connsiteY18" fmla="*/ 335280 h 861060"/>
                  <a:gd name="connsiteX19" fmla="*/ 0 w 975360"/>
                  <a:gd name="connsiteY19" fmla="*/ 327660 h 861060"/>
                  <a:gd name="connsiteX20" fmla="*/ 22860 w 975360"/>
                  <a:gd name="connsiteY20" fmla="*/ 289560 h 861060"/>
                  <a:gd name="connsiteX21" fmla="*/ 7620 w 975360"/>
                  <a:gd name="connsiteY21" fmla="*/ 243840 h 861060"/>
                  <a:gd name="connsiteX22" fmla="*/ 144780 w 975360"/>
                  <a:gd name="connsiteY22" fmla="*/ 236220 h 861060"/>
                  <a:gd name="connsiteX23" fmla="*/ 175260 w 975360"/>
                  <a:gd name="connsiteY23" fmla="*/ 152400 h 861060"/>
                  <a:gd name="connsiteX24" fmla="*/ 251460 w 975360"/>
                  <a:gd name="connsiteY24" fmla="*/ 213360 h 861060"/>
                  <a:gd name="connsiteX25" fmla="*/ 274320 w 975360"/>
                  <a:gd name="connsiteY25" fmla="*/ 0 h 861060"/>
                  <a:gd name="connsiteX26" fmla="*/ 365760 w 975360"/>
                  <a:gd name="connsiteY26" fmla="*/ 7620 h 861060"/>
                  <a:gd name="connsiteX27" fmla="*/ 419100 w 975360"/>
                  <a:gd name="connsiteY27" fmla="*/ 91440 h 861060"/>
                  <a:gd name="connsiteX28" fmla="*/ 586740 w 975360"/>
                  <a:gd name="connsiteY28" fmla="*/ 137160 h 861060"/>
                  <a:gd name="connsiteX29" fmla="*/ 624840 w 975360"/>
                  <a:gd name="connsiteY29" fmla="*/ 15240 h 861060"/>
                  <a:gd name="connsiteX30" fmla="*/ 914400 w 975360"/>
                  <a:gd name="connsiteY30" fmla="*/ 121920 h 861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975360" h="861060">
                    <a:moveTo>
                      <a:pt x="914400" y="121920"/>
                    </a:moveTo>
                    <a:lnTo>
                      <a:pt x="975360" y="266700"/>
                    </a:lnTo>
                    <a:lnTo>
                      <a:pt x="899160" y="327660"/>
                    </a:lnTo>
                    <a:lnTo>
                      <a:pt x="891540" y="388620"/>
                    </a:lnTo>
                    <a:lnTo>
                      <a:pt x="861060" y="426720"/>
                    </a:lnTo>
                    <a:lnTo>
                      <a:pt x="883920" y="487680"/>
                    </a:lnTo>
                    <a:lnTo>
                      <a:pt x="830580" y="594360"/>
                    </a:lnTo>
                    <a:lnTo>
                      <a:pt x="632460" y="563880"/>
                    </a:lnTo>
                    <a:lnTo>
                      <a:pt x="685800" y="670560"/>
                    </a:lnTo>
                    <a:lnTo>
                      <a:pt x="693420" y="784860"/>
                    </a:lnTo>
                    <a:lnTo>
                      <a:pt x="693420" y="861060"/>
                    </a:lnTo>
                    <a:lnTo>
                      <a:pt x="563880" y="861060"/>
                    </a:lnTo>
                    <a:lnTo>
                      <a:pt x="464820" y="746760"/>
                    </a:lnTo>
                    <a:lnTo>
                      <a:pt x="220980" y="632460"/>
                    </a:lnTo>
                    <a:lnTo>
                      <a:pt x="220980" y="632460"/>
                    </a:lnTo>
                    <a:lnTo>
                      <a:pt x="114300" y="441960"/>
                    </a:lnTo>
                    <a:lnTo>
                      <a:pt x="53340" y="434340"/>
                    </a:lnTo>
                    <a:lnTo>
                      <a:pt x="60960" y="396240"/>
                    </a:lnTo>
                    <a:lnTo>
                      <a:pt x="30480" y="335280"/>
                    </a:lnTo>
                    <a:lnTo>
                      <a:pt x="0" y="327660"/>
                    </a:lnTo>
                    <a:lnTo>
                      <a:pt x="22860" y="289560"/>
                    </a:lnTo>
                    <a:lnTo>
                      <a:pt x="7620" y="243840"/>
                    </a:lnTo>
                    <a:lnTo>
                      <a:pt x="144780" y="236220"/>
                    </a:lnTo>
                    <a:lnTo>
                      <a:pt x="175260" y="152400"/>
                    </a:lnTo>
                    <a:lnTo>
                      <a:pt x="251460" y="213360"/>
                    </a:lnTo>
                    <a:lnTo>
                      <a:pt x="274320" y="0"/>
                    </a:lnTo>
                    <a:lnTo>
                      <a:pt x="365760" y="7620"/>
                    </a:lnTo>
                    <a:lnTo>
                      <a:pt x="419100" y="91440"/>
                    </a:lnTo>
                    <a:lnTo>
                      <a:pt x="586740" y="137160"/>
                    </a:lnTo>
                    <a:lnTo>
                      <a:pt x="624840" y="15240"/>
                    </a:lnTo>
                    <a:lnTo>
                      <a:pt x="914400" y="1219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4" name="Freeform 193"/>
              <p:cNvSpPr/>
              <p:nvPr/>
            </p:nvSpPr>
            <p:spPr>
              <a:xfrm>
                <a:off x="3179531" y="2560013"/>
                <a:ext cx="632280" cy="755400"/>
              </a:xfrm>
              <a:custGeom>
                <a:avLst/>
                <a:gdLst>
                  <a:gd name="connsiteX0" fmla="*/ 45720 w 1112520"/>
                  <a:gd name="connsiteY0" fmla="*/ 830580 h 1287780"/>
                  <a:gd name="connsiteX1" fmla="*/ 76200 w 1112520"/>
                  <a:gd name="connsiteY1" fmla="*/ 922020 h 1287780"/>
                  <a:gd name="connsiteX2" fmla="*/ 167640 w 1112520"/>
                  <a:gd name="connsiteY2" fmla="*/ 990600 h 1287780"/>
                  <a:gd name="connsiteX3" fmla="*/ 152400 w 1112520"/>
                  <a:gd name="connsiteY3" fmla="*/ 1074420 h 1287780"/>
                  <a:gd name="connsiteX4" fmla="*/ 259080 w 1112520"/>
                  <a:gd name="connsiteY4" fmla="*/ 1097280 h 1287780"/>
                  <a:gd name="connsiteX5" fmla="*/ 350520 w 1112520"/>
                  <a:gd name="connsiteY5" fmla="*/ 1043940 h 1287780"/>
                  <a:gd name="connsiteX6" fmla="*/ 541020 w 1112520"/>
                  <a:gd name="connsiteY6" fmla="*/ 1158240 h 1287780"/>
                  <a:gd name="connsiteX7" fmla="*/ 731520 w 1112520"/>
                  <a:gd name="connsiteY7" fmla="*/ 1089660 h 1287780"/>
                  <a:gd name="connsiteX8" fmla="*/ 845820 w 1112520"/>
                  <a:gd name="connsiteY8" fmla="*/ 1089660 h 1287780"/>
                  <a:gd name="connsiteX9" fmla="*/ 982980 w 1112520"/>
                  <a:gd name="connsiteY9" fmla="*/ 1287780 h 1287780"/>
                  <a:gd name="connsiteX10" fmla="*/ 1112520 w 1112520"/>
                  <a:gd name="connsiteY10" fmla="*/ 1272540 h 1287780"/>
                  <a:gd name="connsiteX11" fmla="*/ 1074420 w 1112520"/>
                  <a:gd name="connsiteY11" fmla="*/ 1173480 h 1287780"/>
                  <a:gd name="connsiteX12" fmla="*/ 1028700 w 1112520"/>
                  <a:gd name="connsiteY12" fmla="*/ 891540 h 1287780"/>
                  <a:gd name="connsiteX13" fmla="*/ 967740 w 1112520"/>
                  <a:gd name="connsiteY13" fmla="*/ 807720 h 1287780"/>
                  <a:gd name="connsiteX14" fmla="*/ 891540 w 1112520"/>
                  <a:gd name="connsiteY14" fmla="*/ 685800 h 1287780"/>
                  <a:gd name="connsiteX15" fmla="*/ 777240 w 1112520"/>
                  <a:gd name="connsiteY15" fmla="*/ 601980 h 1287780"/>
                  <a:gd name="connsiteX16" fmla="*/ 739140 w 1112520"/>
                  <a:gd name="connsiteY16" fmla="*/ 632460 h 1287780"/>
                  <a:gd name="connsiteX17" fmla="*/ 693420 w 1112520"/>
                  <a:gd name="connsiteY17" fmla="*/ 571500 h 1287780"/>
                  <a:gd name="connsiteX18" fmla="*/ 716280 w 1112520"/>
                  <a:gd name="connsiteY18" fmla="*/ 419100 h 1287780"/>
                  <a:gd name="connsiteX19" fmla="*/ 640080 w 1112520"/>
                  <a:gd name="connsiteY19" fmla="*/ 167640 h 1287780"/>
                  <a:gd name="connsiteX20" fmla="*/ 419100 w 1112520"/>
                  <a:gd name="connsiteY20" fmla="*/ 0 h 1287780"/>
                  <a:gd name="connsiteX21" fmla="*/ 297180 w 1112520"/>
                  <a:gd name="connsiteY21" fmla="*/ 83820 h 1287780"/>
                  <a:gd name="connsiteX22" fmla="*/ 289560 w 1112520"/>
                  <a:gd name="connsiteY22" fmla="*/ 129540 h 1287780"/>
                  <a:gd name="connsiteX23" fmla="*/ 327660 w 1112520"/>
                  <a:gd name="connsiteY23" fmla="*/ 259080 h 1287780"/>
                  <a:gd name="connsiteX24" fmla="*/ 259080 w 1112520"/>
                  <a:gd name="connsiteY24" fmla="*/ 297180 h 1287780"/>
                  <a:gd name="connsiteX25" fmla="*/ 236220 w 1112520"/>
                  <a:gd name="connsiteY25" fmla="*/ 358140 h 1287780"/>
                  <a:gd name="connsiteX26" fmla="*/ 213360 w 1112520"/>
                  <a:gd name="connsiteY26" fmla="*/ 381000 h 1287780"/>
                  <a:gd name="connsiteX27" fmla="*/ 243840 w 1112520"/>
                  <a:gd name="connsiteY27" fmla="*/ 464820 h 1287780"/>
                  <a:gd name="connsiteX28" fmla="*/ 182880 w 1112520"/>
                  <a:gd name="connsiteY28" fmla="*/ 571500 h 1287780"/>
                  <a:gd name="connsiteX29" fmla="*/ 0 w 1112520"/>
                  <a:gd name="connsiteY29" fmla="*/ 548640 h 1287780"/>
                  <a:gd name="connsiteX30" fmla="*/ 22860 w 1112520"/>
                  <a:gd name="connsiteY30" fmla="*/ 647700 h 1287780"/>
                  <a:gd name="connsiteX31" fmla="*/ 45720 w 1112520"/>
                  <a:gd name="connsiteY31" fmla="*/ 830580 h 128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112520" h="1287780">
                    <a:moveTo>
                      <a:pt x="45720" y="830580"/>
                    </a:moveTo>
                    <a:lnTo>
                      <a:pt x="76200" y="922020"/>
                    </a:lnTo>
                    <a:lnTo>
                      <a:pt x="167640" y="990600"/>
                    </a:lnTo>
                    <a:lnTo>
                      <a:pt x="152400" y="1074420"/>
                    </a:lnTo>
                    <a:lnTo>
                      <a:pt x="259080" y="1097280"/>
                    </a:lnTo>
                    <a:lnTo>
                      <a:pt x="350520" y="1043940"/>
                    </a:lnTo>
                    <a:lnTo>
                      <a:pt x="541020" y="1158240"/>
                    </a:lnTo>
                    <a:lnTo>
                      <a:pt x="731520" y="1089660"/>
                    </a:lnTo>
                    <a:lnTo>
                      <a:pt x="845820" y="1089660"/>
                    </a:lnTo>
                    <a:lnTo>
                      <a:pt x="982980" y="1287780"/>
                    </a:lnTo>
                    <a:lnTo>
                      <a:pt x="1112520" y="1272540"/>
                    </a:lnTo>
                    <a:lnTo>
                      <a:pt x="1074420" y="1173480"/>
                    </a:lnTo>
                    <a:lnTo>
                      <a:pt x="1028700" y="891540"/>
                    </a:lnTo>
                    <a:lnTo>
                      <a:pt x="967740" y="807720"/>
                    </a:lnTo>
                    <a:lnTo>
                      <a:pt x="891540" y="685800"/>
                    </a:lnTo>
                    <a:lnTo>
                      <a:pt x="777240" y="601980"/>
                    </a:lnTo>
                    <a:lnTo>
                      <a:pt x="739140" y="632460"/>
                    </a:lnTo>
                    <a:lnTo>
                      <a:pt x="693420" y="571500"/>
                    </a:lnTo>
                    <a:lnTo>
                      <a:pt x="716280" y="419100"/>
                    </a:lnTo>
                    <a:lnTo>
                      <a:pt x="640080" y="167640"/>
                    </a:lnTo>
                    <a:lnTo>
                      <a:pt x="419100" y="0"/>
                    </a:lnTo>
                    <a:lnTo>
                      <a:pt x="297180" y="83820"/>
                    </a:lnTo>
                    <a:lnTo>
                      <a:pt x="289560" y="129540"/>
                    </a:lnTo>
                    <a:lnTo>
                      <a:pt x="327660" y="259080"/>
                    </a:lnTo>
                    <a:lnTo>
                      <a:pt x="259080" y="297180"/>
                    </a:lnTo>
                    <a:lnTo>
                      <a:pt x="236220" y="358140"/>
                    </a:lnTo>
                    <a:lnTo>
                      <a:pt x="213360" y="381000"/>
                    </a:lnTo>
                    <a:lnTo>
                      <a:pt x="243840" y="464820"/>
                    </a:lnTo>
                    <a:lnTo>
                      <a:pt x="182880" y="571500"/>
                    </a:lnTo>
                    <a:lnTo>
                      <a:pt x="0" y="548640"/>
                    </a:lnTo>
                    <a:lnTo>
                      <a:pt x="22860" y="647700"/>
                    </a:lnTo>
                    <a:lnTo>
                      <a:pt x="45720" y="83058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5" name="Freeform 194"/>
              <p:cNvSpPr/>
              <p:nvPr/>
            </p:nvSpPr>
            <p:spPr>
              <a:xfrm>
                <a:off x="3551969" y="2568953"/>
                <a:ext cx="727555" cy="464862"/>
              </a:xfrm>
              <a:custGeom>
                <a:avLst/>
                <a:gdLst>
                  <a:gd name="connsiteX0" fmla="*/ 236220 w 1280160"/>
                  <a:gd name="connsiteY0" fmla="*/ 640080 h 792480"/>
                  <a:gd name="connsiteX1" fmla="*/ 441960 w 1280160"/>
                  <a:gd name="connsiteY1" fmla="*/ 609600 h 792480"/>
                  <a:gd name="connsiteX2" fmla="*/ 487680 w 1280160"/>
                  <a:gd name="connsiteY2" fmla="*/ 640080 h 792480"/>
                  <a:gd name="connsiteX3" fmla="*/ 563880 w 1280160"/>
                  <a:gd name="connsiteY3" fmla="*/ 617220 h 792480"/>
                  <a:gd name="connsiteX4" fmla="*/ 594360 w 1280160"/>
                  <a:gd name="connsiteY4" fmla="*/ 708660 h 792480"/>
                  <a:gd name="connsiteX5" fmla="*/ 769620 w 1280160"/>
                  <a:gd name="connsiteY5" fmla="*/ 739140 h 792480"/>
                  <a:gd name="connsiteX6" fmla="*/ 891540 w 1280160"/>
                  <a:gd name="connsiteY6" fmla="*/ 792480 h 792480"/>
                  <a:gd name="connsiteX7" fmla="*/ 1082040 w 1280160"/>
                  <a:gd name="connsiteY7" fmla="*/ 754380 h 792480"/>
                  <a:gd name="connsiteX8" fmla="*/ 1074420 w 1280160"/>
                  <a:gd name="connsiteY8" fmla="*/ 708660 h 792480"/>
                  <a:gd name="connsiteX9" fmla="*/ 1181100 w 1280160"/>
                  <a:gd name="connsiteY9" fmla="*/ 571500 h 792480"/>
                  <a:gd name="connsiteX10" fmla="*/ 1203960 w 1280160"/>
                  <a:gd name="connsiteY10" fmla="*/ 487680 h 792480"/>
                  <a:gd name="connsiteX11" fmla="*/ 1280160 w 1280160"/>
                  <a:gd name="connsiteY11" fmla="*/ 419100 h 792480"/>
                  <a:gd name="connsiteX12" fmla="*/ 1196340 w 1280160"/>
                  <a:gd name="connsiteY12" fmla="*/ 327660 h 792480"/>
                  <a:gd name="connsiteX13" fmla="*/ 1188720 w 1280160"/>
                  <a:gd name="connsiteY13" fmla="*/ 228600 h 792480"/>
                  <a:gd name="connsiteX14" fmla="*/ 1226820 w 1280160"/>
                  <a:gd name="connsiteY14" fmla="*/ 114300 h 792480"/>
                  <a:gd name="connsiteX15" fmla="*/ 1097280 w 1280160"/>
                  <a:gd name="connsiteY15" fmla="*/ 114300 h 792480"/>
                  <a:gd name="connsiteX16" fmla="*/ 990600 w 1280160"/>
                  <a:gd name="connsiteY16" fmla="*/ 7620 h 792480"/>
                  <a:gd name="connsiteX17" fmla="*/ 876300 w 1280160"/>
                  <a:gd name="connsiteY17" fmla="*/ 22860 h 792480"/>
                  <a:gd name="connsiteX18" fmla="*/ 800100 w 1280160"/>
                  <a:gd name="connsiteY18" fmla="*/ 144780 h 792480"/>
                  <a:gd name="connsiteX19" fmla="*/ 662940 w 1280160"/>
                  <a:gd name="connsiteY19" fmla="*/ 15240 h 792480"/>
                  <a:gd name="connsiteX20" fmla="*/ 678180 w 1280160"/>
                  <a:gd name="connsiteY20" fmla="*/ 83820 h 792480"/>
                  <a:gd name="connsiteX21" fmla="*/ 548640 w 1280160"/>
                  <a:gd name="connsiteY21" fmla="*/ 0 h 792480"/>
                  <a:gd name="connsiteX22" fmla="*/ 594360 w 1280160"/>
                  <a:gd name="connsiteY22" fmla="*/ 121920 h 792480"/>
                  <a:gd name="connsiteX23" fmla="*/ 495300 w 1280160"/>
                  <a:gd name="connsiteY23" fmla="*/ 91440 h 792480"/>
                  <a:gd name="connsiteX24" fmla="*/ 464820 w 1280160"/>
                  <a:gd name="connsiteY24" fmla="*/ 53340 h 792480"/>
                  <a:gd name="connsiteX25" fmla="*/ 403860 w 1280160"/>
                  <a:gd name="connsiteY25" fmla="*/ 99060 h 792480"/>
                  <a:gd name="connsiteX26" fmla="*/ 175260 w 1280160"/>
                  <a:gd name="connsiteY26" fmla="*/ 53340 h 792480"/>
                  <a:gd name="connsiteX27" fmla="*/ 68580 w 1280160"/>
                  <a:gd name="connsiteY27" fmla="*/ 60960 h 792480"/>
                  <a:gd name="connsiteX28" fmla="*/ 0 w 1280160"/>
                  <a:gd name="connsiteY28" fmla="*/ 152400 h 792480"/>
                  <a:gd name="connsiteX29" fmla="*/ 68580 w 1280160"/>
                  <a:gd name="connsiteY29" fmla="*/ 381000 h 792480"/>
                  <a:gd name="connsiteX30" fmla="*/ 45720 w 1280160"/>
                  <a:gd name="connsiteY30" fmla="*/ 518160 h 792480"/>
                  <a:gd name="connsiteX31" fmla="*/ 91440 w 1280160"/>
                  <a:gd name="connsiteY31" fmla="*/ 609600 h 792480"/>
                  <a:gd name="connsiteX32" fmla="*/ 121920 w 1280160"/>
                  <a:gd name="connsiteY32" fmla="*/ 586740 h 792480"/>
                  <a:gd name="connsiteX33" fmla="*/ 251460 w 1280160"/>
                  <a:gd name="connsiteY33" fmla="*/ 701040 h 792480"/>
                  <a:gd name="connsiteX34" fmla="*/ 236220 w 1280160"/>
                  <a:gd name="connsiteY34" fmla="*/ 640080 h 79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280160" h="792480">
                    <a:moveTo>
                      <a:pt x="236220" y="640080"/>
                    </a:moveTo>
                    <a:lnTo>
                      <a:pt x="441960" y="609600"/>
                    </a:lnTo>
                    <a:lnTo>
                      <a:pt x="487680" y="640080"/>
                    </a:lnTo>
                    <a:lnTo>
                      <a:pt x="563880" y="617220"/>
                    </a:lnTo>
                    <a:lnTo>
                      <a:pt x="594360" y="708660"/>
                    </a:lnTo>
                    <a:lnTo>
                      <a:pt x="769620" y="739140"/>
                    </a:lnTo>
                    <a:lnTo>
                      <a:pt x="891540" y="792480"/>
                    </a:lnTo>
                    <a:lnTo>
                      <a:pt x="1082040" y="754380"/>
                    </a:lnTo>
                    <a:lnTo>
                      <a:pt x="1074420" y="708660"/>
                    </a:lnTo>
                    <a:lnTo>
                      <a:pt x="1181100" y="571500"/>
                    </a:lnTo>
                    <a:lnTo>
                      <a:pt x="1203960" y="487680"/>
                    </a:lnTo>
                    <a:lnTo>
                      <a:pt x="1280160" y="419100"/>
                    </a:lnTo>
                    <a:lnTo>
                      <a:pt x="1196340" y="327660"/>
                    </a:lnTo>
                    <a:lnTo>
                      <a:pt x="1188720" y="228600"/>
                    </a:lnTo>
                    <a:lnTo>
                      <a:pt x="1226820" y="114300"/>
                    </a:lnTo>
                    <a:lnTo>
                      <a:pt x="1097280" y="114300"/>
                    </a:lnTo>
                    <a:lnTo>
                      <a:pt x="990600" y="7620"/>
                    </a:lnTo>
                    <a:lnTo>
                      <a:pt x="876300" y="22860"/>
                    </a:lnTo>
                    <a:lnTo>
                      <a:pt x="800100" y="144780"/>
                    </a:lnTo>
                    <a:lnTo>
                      <a:pt x="662940" y="15240"/>
                    </a:lnTo>
                    <a:lnTo>
                      <a:pt x="678180" y="83820"/>
                    </a:lnTo>
                    <a:lnTo>
                      <a:pt x="548640" y="0"/>
                    </a:lnTo>
                    <a:lnTo>
                      <a:pt x="594360" y="121920"/>
                    </a:lnTo>
                    <a:lnTo>
                      <a:pt x="495300" y="91440"/>
                    </a:lnTo>
                    <a:lnTo>
                      <a:pt x="464820" y="53340"/>
                    </a:lnTo>
                    <a:lnTo>
                      <a:pt x="403860" y="99060"/>
                    </a:lnTo>
                    <a:lnTo>
                      <a:pt x="175260" y="53340"/>
                    </a:lnTo>
                    <a:lnTo>
                      <a:pt x="68580" y="60960"/>
                    </a:lnTo>
                    <a:lnTo>
                      <a:pt x="0" y="152400"/>
                    </a:lnTo>
                    <a:lnTo>
                      <a:pt x="68580" y="381000"/>
                    </a:lnTo>
                    <a:lnTo>
                      <a:pt x="45720" y="518160"/>
                    </a:lnTo>
                    <a:lnTo>
                      <a:pt x="91440" y="609600"/>
                    </a:lnTo>
                    <a:lnTo>
                      <a:pt x="121920" y="586740"/>
                    </a:lnTo>
                    <a:lnTo>
                      <a:pt x="251460" y="701040"/>
                    </a:lnTo>
                    <a:lnTo>
                      <a:pt x="236220" y="64008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6" name="Freeform 195"/>
              <p:cNvSpPr/>
              <p:nvPr/>
            </p:nvSpPr>
            <p:spPr>
              <a:xfrm>
                <a:off x="4227555" y="2537664"/>
                <a:ext cx="601965" cy="697292"/>
              </a:xfrm>
              <a:custGeom>
                <a:avLst/>
                <a:gdLst>
                  <a:gd name="connsiteX0" fmla="*/ 0 w 1059180"/>
                  <a:gd name="connsiteY0" fmla="*/ 624840 h 1188720"/>
                  <a:gd name="connsiteX1" fmla="*/ 76200 w 1059180"/>
                  <a:gd name="connsiteY1" fmla="*/ 708660 h 1188720"/>
                  <a:gd name="connsiteX2" fmla="*/ 213360 w 1059180"/>
                  <a:gd name="connsiteY2" fmla="*/ 708660 h 1188720"/>
                  <a:gd name="connsiteX3" fmla="*/ 251460 w 1059180"/>
                  <a:gd name="connsiteY3" fmla="*/ 754380 h 1188720"/>
                  <a:gd name="connsiteX4" fmla="*/ 510540 w 1059180"/>
                  <a:gd name="connsiteY4" fmla="*/ 853440 h 1188720"/>
                  <a:gd name="connsiteX5" fmla="*/ 632460 w 1059180"/>
                  <a:gd name="connsiteY5" fmla="*/ 952500 h 1188720"/>
                  <a:gd name="connsiteX6" fmla="*/ 754380 w 1059180"/>
                  <a:gd name="connsiteY6" fmla="*/ 937260 h 1188720"/>
                  <a:gd name="connsiteX7" fmla="*/ 784860 w 1059180"/>
                  <a:gd name="connsiteY7" fmla="*/ 1028700 h 1188720"/>
                  <a:gd name="connsiteX8" fmla="*/ 784860 w 1059180"/>
                  <a:gd name="connsiteY8" fmla="*/ 1097280 h 1188720"/>
                  <a:gd name="connsiteX9" fmla="*/ 861060 w 1059180"/>
                  <a:gd name="connsiteY9" fmla="*/ 1181100 h 1188720"/>
                  <a:gd name="connsiteX10" fmla="*/ 998220 w 1059180"/>
                  <a:gd name="connsiteY10" fmla="*/ 1188720 h 1188720"/>
                  <a:gd name="connsiteX11" fmla="*/ 1051560 w 1059180"/>
                  <a:gd name="connsiteY11" fmla="*/ 1150620 h 1188720"/>
                  <a:gd name="connsiteX12" fmla="*/ 1059180 w 1059180"/>
                  <a:gd name="connsiteY12" fmla="*/ 1074420 h 1188720"/>
                  <a:gd name="connsiteX13" fmla="*/ 937260 w 1059180"/>
                  <a:gd name="connsiteY13" fmla="*/ 952500 h 1188720"/>
                  <a:gd name="connsiteX14" fmla="*/ 1013460 w 1059180"/>
                  <a:gd name="connsiteY14" fmla="*/ 861060 h 1188720"/>
                  <a:gd name="connsiteX15" fmla="*/ 1021080 w 1059180"/>
                  <a:gd name="connsiteY15" fmla="*/ 670560 h 1188720"/>
                  <a:gd name="connsiteX16" fmla="*/ 929640 w 1059180"/>
                  <a:gd name="connsiteY16" fmla="*/ 579120 h 1188720"/>
                  <a:gd name="connsiteX17" fmla="*/ 929640 w 1059180"/>
                  <a:gd name="connsiteY17" fmla="*/ 472440 h 1188720"/>
                  <a:gd name="connsiteX18" fmla="*/ 769620 w 1059180"/>
                  <a:gd name="connsiteY18" fmla="*/ 388620 h 1188720"/>
                  <a:gd name="connsiteX19" fmla="*/ 556260 w 1059180"/>
                  <a:gd name="connsiteY19" fmla="*/ 396240 h 1188720"/>
                  <a:gd name="connsiteX20" fmla="*/ 419100 w 1059180"/>
                  <a:gd name="connsiteY20" fmla="*/ 312420 h 1188720"/>
                  <a:gd name="connsiteX21" fmla="*/ 441960 w 1059180"/>
                  <a:gd name="connsiteY21" fmla="*/ 259080 h 1188720"/>
                  <a:gd name="connsiteX22" fmla="*/ 335280 w 1059180"/>
                  <a:gd name="connsiteY22" fmla="*/ 228600 h 1188720"/>
                  <a:gd name="connsiteX23" fmla="*/ 312420 w 1059180"/>
                  <a:gd name="connsiteY23" fmla="*/ 251460 h 1188720"/>
                  <a:gd name="connsiteX24" fmla="*/ 205740 w 1059180"/>
                  <a:gd name="connsiteY24" fmla="*/ 236220 h 1188720"/>
                  <a:gd name="connsiteX25" fmla="*/ 228600 w 1059180"/>
                  <a:gd name="connsiteY25" fmla="*/ 121920 h 1188720"/>
                  <a:gd name="connsiteX26" fmla="*/ 205740 w 1059180"/>
                  <a:gd name="connsiteY26" fmla="*/ 53340 h 1188720"/>
                  <a:gd name="connsiteX27" fmla="*/ 106680 w 1059180"/>
                  <a:gd name="connsiteY27" fmla="*/ 45720 h 1188720"/>
                  <a:gd name="connsiteX28" fmla="*/ 114300 w 1059180"/>
                  <a:gd name="connsiteY28" fmla="*/ 0 h 1188720"/>
                  <a:gd name="connsiteX29" fmla="*/ 7620 w 1059180"/>
                  <a:gd name="connsiteY29" fmla="*/ 45720 h 1188720"/>
                  <a:gd name="connsiteX30" fmla="*/ 60960 w 1059180"/>
                  <a:gd name="connsiteY30" fmla="*/ 144780 h 1188720"/>
                  <a:gd name="connsiteX31" fmla="*/ 0 w 1059180"/>
                  <a:gd name="connsiteY31" fmla="*/ 236220 h 1188720"/>
                  <a:gd name="connsiteX32" fmla="*/ 22860 w 1059180"/>
                  <a:gd name="connsiteY32" fmla="*/ 388620 h 1188720"/>
                  <a:gd name="connsiteX33" fmla="*/ 91440 w 1059180"/>
                  <a:gd name="connsiteY33" fmla="*/ 472440 h 1188720"/>
                  <a:gd name="connsiteX34" fmla="*/ 0 w 1059180"/>
                  <a:gd name="connsiteY34" fmla="*/ 624840 h 1188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59180" h="1188720">
                    <a:moveTo>
                      <a:pt x="0" y="624840"/>
                    </a:moveTo>
                    <a:lnTo>
                      <a:pt x="76200" y="708660"/>
                    </a:lnTo>
                    <a:lnTo>
                      <a:pt x="213360" y="708660"/>
                    </a:lnTo>
                    <a:lnTo>
                      <a:pt x="251460" y="754380"/>
                    </a:lnTo>
                    <a:lnTo>
                      <a:pt x="510540" y="853440"/>
                    </a:lnTo>
                    <a:lnTo>
                      <a:pt x="632460" y="952500"/>
                    </a:lnTo>
                    <a:lnTo>
                      <a:pt x="754380" y="937260"/>
                    </a:lnTo>
                    <a:lnTo>
                      <a:pt x="784860" y="1028700"/>
                    </a:lnTo>
                    <a:lnTo>
                      <a:pt x="784860" y="1097280"/>
                    </a:lnTo>
                    <a:lnTo>
                      <a:pt x="861060" y="1181100"/>
                    </a:lnTo>
                    <a:lnTo>
                      <a:pt x="998220" y="1188720"/>
                    </a:lnTo>
                    <a:lnTo>
                      <a:pt x="1051560" y="1150620"/>
                    </a:lnTo>
                    <a:lnTo>
                      <a:pt x="1059180" y="1074420"/>
                    </a:lnTo>
                    <a:lnTo>
                      <a:pt x="937260" y="952500"/>
                    </a:lnTo>
                    <a:lnTo>
                      <a:pt x="1013460" y="861060"/>
                    </a:lnTo>
                    <a:lnTo>
                      <a:pt x="1021080" y="670560"/>
                    </a:lnTo>
                    <a:lnTo>
                      <a:pt x="929640" y="579120"/>
                    </a:lnTo>
                    <a:lnTo>
                      <a:pt x="929640" y="472440"/>
                    </a:lnTo>
                    <a:lnTo>
                      <a:pt x="769620" y="388620"/>
                    </a:lnTo>
                    <a:lnTo>
                      <a:pt x="556260" y="396240"/>
                    </a:lnTo>
                    <a:lnTo>
                      <a:pt x="419100" y="312420"/>
                    </a:lnTo>
                    <a:lnTo>
                      <a:pt x="441960" y="259080"/>
                    </a:lnTo>
                    <a:lnTo>
                      <a:pt x="335280" y="228600"/>
                    </a:lnTo>
                    <a:lnTo>
                      <a:pt x="312420" y="251460"/>
                    </a:lnTo>
                    <a:lnTo>
                      <a:pt x="205740" y="236220"/>
                    </a:lnTo>
                    <a:lnTo>
                      <a:pt x="228600" y="121920"/>
                    </a:lnTo>
                    <a:lnTo>
                      <a:pt x="205740" y="53340"/>
                    </a:lnTo>
                    <a:lnTo>
                      <a:pt x="106680" y="45720"/>
                    </a:lnTo>
                    <a:lnTo>
                      <a:pt x="114300" y="0"/>
                    </a:lnTo>
                    <a:lnTo>
                      <a:pt x="7620" y="45720"/>
                    </a:lnTo>
                    <a:lnTo>
                      <a:pt x="60960" y="144780"/>
                    </a:lnTo>
                    <a:lnTo>
                      <a:pt x="0" y="236220"/>
                    </a:lnTo>
                    <a:lnTo>
                      <a:pt x="22860" y="388620"/>
                    </a:lnTo>
                    <a:lnTo>
                      <a:pt x="91440" y="472440"/>
                    </a:lnTo>
                    <a:lnTo>
                      <a:pt x="0" y="6248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7" name="Freeform 196"/>
              <p:cNvSpPr/>
              <p:nvPr/>
            </p:nvSpPr>
            <p:spPr>
              <a:xfrm>
                <a:off x="5362192" y="2425920"/>
                <a:ext cx="549996" cy="590016"/>
              </a:xfrm>
              <a:custGeom>
                <a:avLst/>
                <a:gdLst>
                  <a:gd name="connsiteX0" fmla="*/ 22860 w 967740"/>
                  <a:gd name="connsiteY0" fmla="*/ 0 h 1005840"/>
                  <a:gd name="connsiteX1" fmla="*/ 76200 w 967740"/>
                  <a:gd name="connsiteY1" fmla="*/ 236220 h 1005840"/>
                  <a:gd name="connsiteX2" fmla="*/ 167640 w 967740"/>
                  <a:gd name="connsiteY2" fmla="*/ 289560 h 1005840"/>
                  <a:gd name="connsiteX3" fmla="*/ 350520 w 967740"/>
                  <a:gd name="connsiteY3" fmla="*/ 266700 h 1005840"/>
                  <a:gd name="connsiteX4" fmla="*/ 441960 w 967740"/>
                  <a:gd name="connsiteY4" fmla="*/ 365760 h 1005840"/>
                  <a:gd name="connsiteX5" fmla="*/ 487680 w 967740"/>
                  <a:gd name="connsiteY5" fmla="*/ 266700 h 1005840"/>
                  <a:gd name="connsiteX6" fmla="*/ 685800 w 967740"/>
                  <a:gd name="connsiteY6" fmla="*/ 205740 h 1005840"/>
                  <a:gd name="connsiteX7" fmla="*/ 853440 w 967740"/>
                  <a:gd name="connsiteY7" fmla="*/ 335280 h 1005840"/>
                  <a:gd name="connsiteX8" fmla="*/ 883920 w 967740"/>
                  <a:gd name="connsiteY8" fmla="*/ 411480 h 1005840"/>
                  <a:gd name="connsiteX9" fmla="*/ 952500 w 967740"/>
                  <a:gd name="connsiteY9" fmla="*/ 472440 h 1005840"/>
                  <a:gd name="connsiteX10" fmla="*/ 952500 w 967740"/>
                  <a:gd name="connsiteY10" fmla="*/ 510540 h 1005840"/>
                  <a:gd name="connsiteX11" fmla="*/ 967740 w 967740"/>
                  <a:gd name="connsiteY11" fmla="*/ 754380 h 1005840"/>
                  <a:gd name="connsiteX12" fmla="*/ 967740 w 967740"/>
                  <a:gd name="connsiteY12" fmla="*/ 830580 h 1005840"/>
                  <a:gd name="connsiteX13" fmla="*/ 861060 w 967740"/>
                  <a:gd name="connsiteY13" fmla="*/ 838200 h 1005840"/>
                  <a:gd name="connsiteX14" fmla="*/ 845820 w 967740"/>
                  <a:gd name="connsiteY14" fmla="*/ 944880 h 1005840"/>
                  <a:gd name="connsiteX15" fmla="*/ 746760 w 967740"/>
                  <a:gd name="connsiteY15" fmla="*/ 982980 h 1005840"/>
                  <a:gd name="connsiteX16" fmla="*/ 609600 w 967740"/>
                  <a:gd name="connsiteY16" fmla="*/ 975360 h 1005840"/>
                  <a:gd name="connsiteX17" fmla="*/ 464820 w 967740"/>
                  <a:gd name="connsiteY17" fmla="*/ 982980 h 1005840"/>
                  <a:gd name="connsiteX18" fmla="*/ 388620 w 967740"/>
                  <a:gd name="connsiteY18" fmla="*/ 960120 h 1005840"/>
                  <a:gd name="connsiteX19" fmla="*/ 205740 w 967740"/>
                  <a:gd name="connsiteY19" fmla="*/ 998220 h 1005840"/>
                  <a:gd name="connsiteX20" fmla="*/ 137160 w 967740"/>
                  <a:gd name="connsiteY20" fmla="*/ 1005840 h 1005840"/>
                  <a:gd name="connsiteX21" fmla="*/ 91440 w 967740"/>
                  <a:gd name="connsiteY21" fmla="*/ 876300 h 1005840"/>
                  <a:gd name="connsiteX22" fmla="*/ 121920 w 967740"/>
                  <a:gd name="connsiteY22" fmla="*/ 830580 h 1005840"/>
                  <a:gd name="connsiteX23" fmla="*/ 60960 w 967740"/>
                  <a:gd name="connsiteY23" fmla="*/ 769620 h 1005840"/>
                  <a:gd name="connsiteX24" fmla="*/ 129540 w 967740"/>
                  <a:gd name="connsiteY24" fmla="*/ 678180 h 1005840"/>
                  <a:gd name="connsiteX25" fmla="*/ 53340 w 967740"/>
                  <a:gd name="connsiteY25" fmla="*/ 495300 h 1005840"/>
                  <a:gd name="connsiteX26" fmla="*/ 0 w 967740"/>
                  <a:gd name="connsiteY26" fmla="*/ 449580 h 1005840"/>
                  <a:gd name="connsiteX27" fmla="*/ 60960 w 967740"/>
                  <a:gd name="connsiteY27" fmla="*/ 312420 h 1005840"/>
                  <a:gd name="connsiteX28" fmla="*/ 22860 w 967740"/>
                  <a:gd name="connsiteY28" fmla="*/ 0 h 100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967740" h="1005840">
                    <a:moveTo>
                      <a:pt x="22860" y="0"/>
                    </a:moveTo>
                    <a:lnTo>
                      <a:pt x="76200" y="236220"/>
                    </a:lnTo>
                    <a:lnTo>
                      <a:pt x="167640" y="289560"/>
                    </a:lnTo>
                    <a:lnTo>
                      <a:pt x="350520" y="266700"/>
                    </a:lnTo>
                    <a:lnTo>
                      <a:pt x="441960" y="365760"/>
                    </a:lnTo>
                    <a:lnTo>
                      <a:pt x="487680" y="266700"/>
                    </a:lnTo>
                    <a:lnTo>
                      <a:pt x="685800" y="205740"/>
                    </a:lnTo>
                    <a:lnTo>
                      <a:pt x="853440" y="335280"/>
                    </a:lnTo>
                    <a:lnTo>
                      <a:pt x="883920" y="411480"/>
                    </a:lnTo>
                    <a:lnTo>
                      <a:pt x="952500" y="472440"/>
                    </a:lnTo>
                    <a:lnTo>
                      <a:pt x="952500" y="510540"/>
                    </a:lnTo>
                    <a:lnTo>
                      <a:pt x="967740" y="754380"/>
                    </a:lnTo>
                    <a:lnTo>
                      <a:pt x="967740" y="830580"/>
                    </a:lnTo>
                    <a:lnTo>
                      <a:pt x="861060" y="838200"/>
                    </a:lnTo>
                    <a:lnTo>
                      <a:pt x="845820" y="944880"/>
                    </a:lnTo>
                    <a:lnTo>
                      <a:pt x="746760" y="982980"/>
                    </a:lnTo>
                    <a:lnTo>
                      <a:pt x="609600" y="975360"/>
                    </a:lnTo>
                    <a:lnTo>
                      <a:pt x="464820" y="982980"/>
                    </a:lnTo>
                    <a:lnTo>
                      <a:pt x="388620" y="960120"/>
                    </a:lnTo>
                    <a:lnTo>
                      <a:pt x="205740" y="998220"/>
                    </a:lnTo>
                    <a:lnTo>
                      <a:pt x="137160" y="1005840"/>
                    </a:lnTo>
                    <a:lnTo>
                      <a:pt x="91440" y="876300"/>
                    </a:lnTo>
                    <a:lnTo>
                      <a:pt x="121920" y="830580"/>
                    </a:lnTo>
                    <a:lnTo>
                      <a:pt x="60960" y="769620"/>
                    </a:lnTo>
                    <a:lnTo>
                      <a:pt x="129540" y="678180"/>
                    </a:lnTo>
                    <a:lnTo>
                      <a:pt x="53340" y="495300"/>
                    </a:lnTo>
                    <a:lnTo>
                      <a:pt x="0" y="449580"/>
                    </a:lnTo>
                    <a:lnTo>
                      <a:pt x="60960" y="312420"/>
                    </a:lnTo>
                    <a:lnTo>
                      <a:pt x="22860" y="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8" name="Freeform 197"/>
              <p:cNvSpPr/>
              <p:nvPr/>
            </p:nvSpPr>
            <p:spPr>
              <a:xfrm>
                <a:off x="5851557" y="2452740"/>
                <a:ext cx="575981" cy="478271"/>
              </a:xfrm>
              <a:custGeom>
                <a:avLst/>
                <a:gdLst>
                  <a:gd name="connsiteX0" fmla="*/ 0 w 1013460"/>
                  <a:gd name="connsiteY0" fmla="*/ 274320 h 815340"/>
                  <a:gd name="connsiteX1" fmla="*/ 76200 w 1013460"/>
                  <a:gd name="connsiteY1" fmla="*/ 228600 h 815340"/>
                  <a:gd name="connsiteX2" fmla="*/ 83820 w 1013460"/>
                  <a:gd name="connsiteY2" fmla="*/ 175260 h 815340"/>
                  <a:gd name="connsiteX3" fmla="*/ 198120 w 1013460"/>
                  <a:gd name="connsiteY3" fmla="*/ 228600 h 815340"/>
                  <a:gd name="connsiteX4" fmla="*/ 251460 w 1013460"/>
                  <a:gd name="connsiteY4" fmla="*/ 144780 h 815340"/>
                  <a:gd name="connsiteX5" fmla="*/ 335280 w 1013460"/>
                  <a:gd name="connsiteY5" fmla="*/ 175260 h 815340"/>
                  <a:gd name="connsiteX6" fmla="*/ 381000 w 1013460"/>
                  <a:gd name="connsiteY6" fmla="*/ 137160 h 815340"/>
                  <a:gd name="connsiteX7" fmla="*/ 594360 w 1013460"/>
                  <a:gd name="connsiteY7" fmla="*/ 320040 h 815340"/>
                  <a:gd name="connsiteX8" fmla="*/ 678180 w 1013460"/>
                  <a:gd name="connsiteY8" fmla="*/ 228600 h 815340"/>
                  <a:gd name="connsiteX9" fmla="*/ 731520 w 1013460"/>
                  <a:gd name="connsiteY9" fmla="*/ 38100 h 815340"/>
                  <a:gd name="connsiteX10" fmla="*/ 800100 w 1013460"/>
                  <a:gd name="connsiteY10" fmla="*/ 76200 h 815340"/>
                  <a:gd name="connsiteX11" fmla="*/ 914400 w 1013460"/>
                  <a:gd name="connsiteY11" fmla="*/ 0 h 815340"/>
                  <a:gd name="connsiteX12" fmla="*/ 845820 w 1013460"/>
                  <a:gd name="connsiteY12" fmla="*/ 91440 h 815340"/>
                  <a:gd name="connsiteX13" fmla="*/ 883920 w 1013460"/>
                  <a:gd name="connsiteY13" fmla="*/ 182880 h 815340"/>
                  <a:gd name="connsiteX14" fmla="*/ 967740 w 1013460"/>
                  <a:gd name="connsiteY14" fmla="*/ 213360 h 815340"/>
                  <a:gd name="connsiteX15" fmla="*/ 876300 w 1013460"/>
                  <a:gd name="connsiteY15" fmla="*/ 266700 h 815340"/>
                  <a:gd name="connsiteX16" fmla="*/ 899160 w 1013460"/>
                  <a:gd name="connsiteY16" fmla="*/ 297180 h 815340"/>
                  <a:gd name="connsiteX17" fmla="*/ 1013460 w 1013460"/>
                  <a:gd name="connsiteY17" fmla="*/ 289560 h 815340"/>
                  <a:gd name="connsiteX18" fmla="*/ 906780 w 1013460"/>
                  <a:gd name="connsiteY18" fmla="*/ 426720 h 815340"/>
                  <a:gd name="connsiteX19" fmla="*/ 746760 w 1013460"/>
                  <a:gd name="connsiteY19" fmla="*/ 563880 h 815340"/>
                  <a:gd name="connsiteX20" fmla="*/ 518160 w 1013460"/>
                  <a:gd name="connsiteY20" fmla="*/ 685800 h 815340"/>
                  <a:gd name="connsiteX21" fmla="*/ 548640 w 1013460"/>
                  <a:gd name="connsiteY21" fmla="*/ 800100 h 815340"/>
                  <a:gd name="connsiteX22" fmla="*/ 487680 w 1013460"/>
                  <a:gd name="connsiteY22" fmla="*/ 815340 h 815340"/>
                  <a:gd name="connsiteX23" fmla="*/ 419100 w 1013460"/>
                  <a:gd name="connsiteY23" fmla="*/ 739140 h 815340"/>
                  <a:gd name="connsiteX24" fmla="*/ 121920 w 1013460"/>
                  <a:gd name="connsiteY24" fmla="*/ 701040 h 815340"/>
                  <a:gd name="connsiteX25" fmla="*/ 99060 w 1013460"/>
                  <a:gd name="connsiteY25" fmla="*/ 426720 h 815340"/>
                  <a:gd name="connsiteX26" fmla="*/ 38100 w 1013460"/>
                  <a:gd name="connsiteY26" fmla="*/ 358140 h 815340"/>
                  <a:gd name="connsiteX27" fmla="*/ 0 w 1013460"/>
                  <a:gd name="connsiteY27" fmla="*/ 274320 h 81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13460" h="815340">
                    <a:moveTo>
                      <a:pt x="0" y="274320"/>
                    </a:moveTo>
                    <a:lnTo>
                      <a:pt x="76200" y="228600"/>
                    </a:lnTo>
                    <a:lnTo>
                      <a:pt x="83820" y="175260"/>
                    </a:lnTo>
                    <a:lnTo>
                      <a:pt x="198120" y="228600"/>
                    </a:lnTo>
                    <a:lnTo>
                      <a:pt x="251460" y="144780"/>
                    </a:lnTo>
                    <a:lnTo>
                      <a:pt x="335280" y="175260"/>
                    </a:lnTo>
                    <a:lnTo>
                      <a:pt x="381000" y="137160"/>
                    </a:lnTo>
                    <a:lnTo>
                      <a:pt x="594360" y="320040"/>
                    </a:lnTo>
                    <a:lnTo>
                      <a:pt x="678180" y="228600"/>
                    </a:lnTo>
                    <a:lnTo>
                      <a:pt x="731520" y="38100"/>
                    </a:lnTo>
                    <a:lnTo>
                      <a:pt x="800100" y="76200"/>
                    </a:lnTo>
                    <a:lnTo>
                      <a:pt x="914400" y="0"/>
                    </a:lnTo>
                    <a:lnTo>
                      <a:pt x="845820" y="91440"/>
                    </a:lnTo>
                    <a:lnTo>
                      <a:pt x="883920" y="182880"/>
                    </a:lnTo>
                    <a:lnTo>
                      <a:pt x="967740" y="213360"/>
                    </a:lnTo>
                    <a:lnTo>
                      <a:pt x="876300" y="266700"/>
                    </a:lnTo>
                    <a:lnTo>
                      <a:pt x="899160" y="297180"/>
                    </a:lnTo>
                    <a:lnTo>
                      <a:pt x="1013460" y="289560"/>
                    </a:lnTo>
                    <a:lnTo>
                      <a:pt x="906780" y="426720"/>
                    </a:lnTo>
                    <a:lnTo>
                      <a:pt x="746760" y="563880"/>
                    </a:lnTo>
                    <a:lnTo>
                      <a:pt x="518160" y="685800"/>
                    </a:lnTo>
                    <a:lnTo>
                      <a:pt x="548640" y="800100"/>
                    </a:lnTo>
                    <a:lnTo>
                      <a:pt x="487680" y="815340"/>
                    </a:lnTo>
                    <a:lnTo>
                      <a:pt x="419100" y="739140"/>
                    </a:lnTo>
                    <a:lnTo>
                      <a:pt x="121920" y="701040"/>
                    </a:lnTo>
                    <a:lnTo>
                      <a:pt x="99060" y="426720"/>
                    </a:lnTo>
                    <a:lnTo>
                      <a:pt x="38100" y="358140"/>
                    </a:lnTo>
                    <a:lnTo>
                      <a:pt x="0" y="2743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99" name="Freeform 198"/>
              <p:cNvSpPr/>
              <p:nvPr/>
            </p:nvSpPr>
            <p:spPr>
              <a:xfrm>
                <a:off x="5310222" y="2877371"/>
                <a:ext cx="775192" cy="670474"/>
              </a:xfrm>
              <a:custGeom>
                <a:avLst/>
                <a:gdLst>
                  <a:gd name="connsiteX0" fmla="*/ 1363980 w 1363980"/>
                  <a:gd name="connsiteY0" fmla="*/ 45720 h 1143000"/>
                  <a:gd name="connsiteX1" fmla="*/ 1287780 w 1363980"/>
                  <a:gd name="connsiteY1" fmla="*/ 137160 h 1143000"/>
                  <a:gd name="connsiteX2" fmla="*/ 1242060 w 1363980"/>
                  <a:gd name="connsiteY2" fmla="*/ 320040 h 1143000"/>
                  <a:gd name="connsiteX3" fmla="*/ 1257300 w 1363980"/>
                  <a:gd name="connsiteY3" fmla="*/ 495300 h 1143000"/>
                  <a:gd name="connsiteX4" fmla="*/ 1257300 w 1363980"/>
                  <a:gd name="connsiteY4" fmla="*/ 594360 h 1143000"/>
                  <a:gd name="connsiteX5" fmla="*/ 1158240 w 1363980"/>
                  <a:gd name="connsiteY5" fmla="*/ 594360 h 1143000"/>
                  <a:gd name="connsiteX6" fmla="*/ 1143000 w 1363980"/>
                  <a:gd name="connsiteY6" fmla="*/ 548640 h 1143000"/>
                  <a:gd name="connsiteX7" fmla="*/ 1028700 w 1363980"/>
                  <a:gd name="connsiteY7" fmla="*/ 662940 h 1143000"/>
                  <a:gd name="connsiteX8" fmla="*/ 952500 w 1363980"/>
                  <a:gd name="connsiteY8" fmla="*/ 701040 h 1143000"/>
                  <a:gd name="connsiteX9" fmla="*/ 868680 w 1363980"/>
                  <a:gd name="connsiteY9" fmla="*/ 716280 h 1143000"/>
                  <a:gd name="connsiteX10" fmla="*/ 762000 w 1363980"/>
                  <a:gd name="connsiteY10" fmla="*/ 716280 h 1143000"/>
                  <a:gd name="connsiteX11" fmla="*/ 548640 w 1363980"/>
                  <a:gd name="connsiteY11" fmla="*/ 701040 h 1143000"/>
                  <a:gd name="connsiteX12" fmla="*/ 434340 w 1363980"/>
                  <a:gd name="connsiteY12" fmla="*/ 640080 h 1143000"/>
                  <a:gd name="connsiteX13" fmla="*/ 403860 w 1363980"/>
                  <a:gd name="connsiteY13" fmla="*/ 678180 h 1143000"/>
                  <a:gd name="connsiteX14" fmla="*/ 449580 w 1363980"/>
                  <a:gd name="connsiteY14" fmla="*/ 769620 h 1143000"/>
                  <a:gd name="connsiteX15" fmla="*/ 403860 w 1363980"/>
                  <a:gd name="connsiteY15" fmla="*/ 868680 h 1143000"/>
                  <a:gd name="connsiteX16" fmla="*/ 304800 w 1363980"/>
                  <a:gd name="connsiteY16" fmla="*/ 1043940 h 1143000"/>
                  <a:gd name="connsiteX17" fmla="*/ 320040 w 1363980"/>
                  <a:gd name="connsiteY17" fmla="*/ 1120140 h 1143000"/>
                  <a:gd name="connsiteX18" fmla="*/ 243840 w 1363980"/>
                  <a:gd name="connsiteY18" fmla="*/ 1089660 h 1143000"/>
                  <a:gd name="connsiteX19" fmla="*/ 175260 w 1363980"/>
                  <a:gd name="connsiteY19" fmla="*/ 1143000 h 1143000"/>
                  <a:gd name="connsiteX20" fmla="*/ 121920 w 1363980"/>
                  <a:gd name="connsiteY20" fmla="*/ 1059180 h 1143000"/>
                  <a:gd name="connsiteX21" fmla="*/ 160020 w 1363980"/>
                  <a:gd name="connsiteY21" fmla="*/ 982980 h 1143000"/>
                  <a:gd name="connsiteX22" fmla="*/ 83820 w 1363980"/>
                  <a:gd name="connsiteY22" fmla="*/ 944880 h 1143000"/>
                  <a:gd name="connsiteX23" fmla="*/ 83820 w 1363980"/>
                  <a:gd name="connsiteY23" fmla="*/ 792480 h 1143000"/>
                  <a:gd name="connsiteX24" fmla="*/ 60960 w 1363980"/>
                  <a:gd name="connsiteY24" fmla="*/ 784860 h 1143000"/>
                  <a:gd name="connsiteX25" fmla="*/ 91440 w 1363980"/>
                  <a:gd name="connsiteY25" fmla="*/ 693420 h 1143000"/>
                  <a:gd name="connsiteX26" fmla="*/ 45720 w 1363980"/>
                  <a:gd name="connsiteY26" fmla="*/ 624840 h 1143000"/>
                  <a:gd name="connsiteX27" fmla="*/ 60960 w 1363980"/>
                  <a:gd name="connsiteY27" fmla="*/ 480060 h 1143000"/>
                  <a:gd name="connsiteX28" fmla="*/ 99060 w 1363980"/>
                  <a:gd name="connsiteY28" fmla="*/ 457200 h 1143000"/>
                  <a:gd name="connsiteX29" fmla="*/ 0 w 1363980"/>
                  <a:gd name="connsiteY29" fmla="*/ 281940 h 1143000"/>
                  <a:gd name="connsiteX30" fmla="*/ 83820 w 1363980"/>
                  <a:gd name="connsiteY30" fmla="*/ 259080 h 1143000"/>
                  <a:gd name="connsiteX31" fmla="*/ 236220 w 1363980"/>
                  <a:gd name="connsiteY31" fmla="*/ 220980 h 1143000"/>
                  <a:gd name="connsiteX32" fmla="*/ 480060 w 1363980"/>
                  <a:gd name="connsiteY32" fmla="*/ 198120 h 1143000"/>
                  <a:gd name="connsiteX33" fmla="*/ 556260 w 1363980"/>
                  <a:gd name="connsiteY33" fmla="*/ 220980 h 1143000"/>
                  <a:gd name="connsiteX34" fmla="*/ 815340 w 1363980"/>
                  <a:gd name="connsiteY34" fmla="*/ 205740 h 1143000"/>
                  <a:gd name="connsiteX35" fmla="*/ 868680 w 1363980"/>
                  <a:gd name="connsiteY35" fmla="*/ 220980 h 1143000"/>
                  <a:gd name="connsiteX36" fmla="*/ 922020 w 1363980"/>
                  <a:gd name="connsiteY36" fmla="*/ 190500 h 1143000"/>
                  <a:gd name="connsiteX37" fmla="*/ 944880 w 1363980"/>
                  <a:gd name="connsiteY37" fmla="*/ 99060 h 1143000"/>
                  <a:gd name="connsiteX38" fmla="*/ 1066800 w 1363980"/>
                  <a:gd name="connsiteY38" fmla="*/ 68580 h 1143000"/>
                  <a:gd name="connsiteX39" fmla="*/ 1074420 w 1363980"/>
                  <a:gd name="connsiteY39" fmla="*/ 0 h 1143000"/>
                  <a:gd name="connsiteX40" fmla="*/ 1363980 w 1363980"/>
                  <a:gd name="connsiteY40" fmla="*/ 45720 h 114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363980" h="1143000">
                    <a:moveTo>
                      <a:pt x="1363980" y="45720"/>
                    </a:moveTo>
                    <a:lnTo>
                      <a:pt x="1287780" y="137160"/>
                    </a:lnTo>
                    <a:lnTo>
                      <a:pt x="1242060" y="320040"/>
                    </a:lnTo>
                    <a:lnTo>
                      <a:pt x="1257300" y="495300"/>
                    </a:lnTo>
                    <a:lnTo>
                      <a:pt x="1257300" y="594360"/>
                    </a:lnTo>
                    <a:lnTo>
                      <a:pt x="1158240" y="594360"/>
                    </a:lnTo>
                    <a:lnTo>
                      <a:pt x="1143000" y="548640"/>
                    </a:lnTo>
                    <a:lnTo>
                      <a:pt x="1028700" y="662940"/>
                    </a:lnTo>
                    <a:lnTo>
                      <a:pt x="952500" y="701040"/>
                    </a:lnTo>
                    <a:lnTo>
                      <a:pt x="868680" y="716280"/>
                    </a:lnTo>
                    <a:lnTo>
                      <a:pt x="762000" y="716280"/>
                    </a:lnTo>
                    <a:lnTo>
                      <a:pt x="548640" y="701040"/>
                    </a:lnTo>
                    <a:lnTo>
                      <a:pt x="434340" y="640080"/>
                    </a:lnTo>
                    <a:lnTo>
                      <a:pt x="403860" y="678180"/>
                    </a:lnTo>
                    <a:lnTo>
                      <a:pt x="449580" y="769620"/>
                    </a:lnTo>
                    <a:lnTo>
                      <a:pt x="403860" y="868680"/>
                    </a:lnTo>
                    <a:lnTo>
                      <a:pt x="304800" y="1043940"/>
                    </a:lnTo>
                    <a:lnTo>
                      <a:pt x="320040" y="1120140"/>
                    </a:lnTo>
                    <a:lnTo>
                      <a:pt x="243840" y="1089660"/>
                    </a:lnTo>
                    <a:lnTo>
                      <a:pt x="175260" y="1143000"/>
                    </a:lnTo>
                    <a:lnTo>
                      <a:pt x="121920" y="1059180"/>
                    </a:lnTo>
                    <a:lnTo>
                      <a:pt x="160020" y="982980"/>
                    </a:lnTo>
                    <a:lnTo>
                      <a:pt x="83820" y="944880"/>
                    </a:lnTo>
                    <a:lnTo>
                      <a:pt x="83820" y="792480"/>
                    </a:lnTo>
                    <a:lnTo>
                      <a:pt x="60960" y="784860"/>
                    </a:lnTo>
                    <a:lnTo>
                      <a:pt x="91440" y="693420"/>
                    </a:lnTo>
                    <a:lnTo>
                      <a:pt x="45720" y="624840"/>
                    </a:lnTo>
                    <a:lnTo>
                      <a:pt x="60960" y="480060"/>
                    </a:lnTo>
                    <a:lnTo>
                      <a:pt x="99060" y="457200"/>
                    </a:lnTo>
                    <a:lnTo>
                      <a:pt x="0" y="281940"/>
                    </a:lnTo>
                    <a:lnTo>
                      <a:pt x="83820" y="259080"/>
                    </a:lnTo>
                    <a:lnTo>
                      <a:pt x="236220" y="220980"/>
                    </a:lnTo>
                    <a:lnTo>
                      <a:pt x="480060" y="198120"/>
                    </a:lnTo>
                    <a:lnTo>
                      <a:pt x="556260" y="220980"/>
                    </a:lnTo>
                    <a:lnTo>
                      <a:pt x="815340" y="205740"/>
                    </a:lnTo>
                    <a:lnTo>
                      <a:pt x="868680" y="220980"/>
                    </a:lnTo>
                    <a:lnTo>
                      <a:pt x="922020" y="190500"/>
                    </a:lnTo>
                    <a:lnTo>
                      <a:pt x="944880" y="99060"/>
                    </a:lnTo>
                    <a:lnTo>
                      <a:pt x="1066800" y="68580"/>
                    </a:lnTo>
                    <a:lnTo>
                      <a:pt x="1074420" y="0"/>
                    </a:lnTo>
                    <a:lnTo>
                      <a:pt x="1363980" y="457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0" name="Freeform 199"/>
              <p:cNvSpPr/>
              <p:nvPr/>
            </p:nvSpPr>
            <p:spPr>
              <a:xfrm>
                <a:off x="2971658" y="3172378"/>
                <a:ext cx="515351" cy="554258"/>
              </a:xfrm>
              <a:custGeom>
                <a:avLst/>
                <a:gdLst>
                  <a:gd name="connsiteX0" fmla="*/ 502920 w 906780"/>
                  <a:gd name="connsiteY0" fmla="*/ 22860 h 944880"/>
                  <a:gd name="connsiteX1" fmla="*/ 396240 w 906780"/>
                  <a:gd name="connsiteY1" fmla="*/ 114300 h 944880"/>
                  <a:gd name="connsiteX2" fmla="*/ 228600 w 906780"/>
                  <a:gd name="connsiteY2" fmla="*/ 60960 h 944880"/>
                  <a:gd name="connsiteX3" fmla="*/ 167640 w 906780"/>
                  <a:gd name="connsiteY3" fmla="*/ 121920 h 944880"/>
                  <a:gd name="connsiteX4" fmla="*/ 175260 w 906780"/>
                  <a:gd name="connsiteY4" fmla="*/ 373380 h 944880"/>
                  <a:gd name="connsiteX5" fmla="*/ 114300 w 906780"/>
                  <a:gd name="connsiteY5" fmla="*/ 502920 h 944880"/>
                  <a:gd name="connsiteX6" fmla="*/ 38100 w 906780"/>
                  <a:gd name="connsiteY6" fmla="*/ 518160 h 944880"/>
                  <a:gd name="connsiteX7" fmla="*/ 0 w 906780"/>
                  <a:gd name="connsiteY7" fmla="*/ 624840 h 944880"/>
                  <a:gd name="connsiteX8" fmla="*/ 0 w 906780"/>
                  <a:gd name="connsiteY8" fmla="*/ 624840 h 944880"/>
                  <a:gd name="connsiteX9" fmla="*/ 106680 w 906780"/>
                  <a:gd name="connsiteY9" fmla="*/ 708660 h 944880"/>
                  <a:gd name="connsiteX10" fmla="*/ 129540 w 906780"/>
                  <a:gd name="connsiteY10" fmla="*/ 868680 h 944880"/>
                  <a:gd name="connsiteX11" fmla="*/ 297180 w 906780"/>
                  <a:gd name="connsiteY11" fmla="*/ 944880 h 944880"/>
                  <a:gd name="connsiteX12" fmla="*/ 556260 w 906780"/>
                  <a:gd name="connsiteY12" fmla="*/ 845820 h 944880"/>
                  <a:gd name="connsiteX13" fmla="*/ 678180 w 906780"/>
                  <a:gd name="connsiteY13" fmla="*/ 746760 h 944880"/>
                  <a:gd name="connsiteX14" fmla="*/ 746760 w 906780"/>
                  <a:gd name="connsiteY14" fmla="*/ 678180 h 944880"/>
                  <a:gd name="connsiteX15" fmla="*/ 792480 w 906780"/>
                  <a:gd name="connsiteY15" fmla="*/ 525780 h 944880"/>
                  <a:gd name="connsiteX16" fmla="*/ 792480 w 906780"/>
                  <a:gd name="connsiteY16" fmla="*/ 426720 h 944880"/>
                  <a:gd name="connsiteX17" fmla="*/ 876300 w 906780"/>
                  <a:gd name="connsiteY17" fmla="*/ 243840 h 944880"/>
                  <a:gd name="connsiteX18" fmla="*/ 906780 w 906780"/>
                  <a:gd name="connsiteY18" fmla="*/ 129540 h 944880"/>
                  <a:gd name="connsiteX19" fmla="*/ 716280 w 906780"/>
                  <a:gd name="connsiteY19" fmla="*/ 0 h 944880"/>
                  <a:gd name="connsiteX20" fmla="*/ 662940 w 906780"/>
                  <a:gd name="connsiteY20" fmla="*/ 30480 h 944880"/>
                  <a:gd name="connsiteX21" fmla="*/ 502920 w 906780"/>
                  <a:gd name="connsiteY21" fmla="*/ 22860 h 944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06780" h="944880">
                    <a:moveTo>
                      <a:pt x="502920" y="22860"/>
                    </a:moveTo>
                    <a:lnTo>
                      <a:pt x="396240" y="114300"/>
                    </a:lnTo>
                    <a:lnTo>
                      <a:pt x="228600" y="60960"/>
                    </a:lnTo>
                    <a:lnTo>
                      <a:pt x="167640" y="121920"/>
                    </a:lnTo>
                    <a:lnTo>
                      <a:pt x="175260" y="373380"/>
                    </a:lnTo>
                    <a:lnTo>
                      <a:pt x="114300" y="502920"/>
                    </a:lnTo>
                    <a:lnTo>
                      <a:pt x="38100" y="518160"/>
                    </a:lnTo>
                    <a:lnTo>
                      <a:pt x="0" y="624840"/>
                    </a:lnTo>
                    <a:lnTo>
                      <a:pt x="0" y="624840"/>
                    </a:lnTo>
                    <a:lnTo>
                      <a:pt x="106680" y="708660"/>
                    </a:lnTo>
                    <a:lnTo>
                      <a:pt x="129540" y="868680"/>
                    </a:lnTo>
                    <a:lnTo>
                      <a:pt x="297180" y="944880"/>
                    </a:lnTo>
                    <a:lnTo>
                      <a:pt x="556260" y="845820"/>
                    </a:lnTo>
                    <a:lnTo>
                      <a:pt x="678180" y="746760"/>
                    </a:lnTo>
                    <a:lnTo>
                      <a:pt x="746760" y="678180"/>
                    </a:lnTo>
                    <a:lnTo>
                      <a:pt x="792480" y="525780"/>
                    </a:lnTo>
                    <a:lnTo>
                      <a:pt x="792480" y="426720"/>
                    </a:lnTo>
                    <a:lnTo>
                      <a:pt x="876300" y="243840"/>
                    </a:lnTo>
                    <a:lnTo>
                      <a:pt x="906780" y="129540"/>
                    </a:lnTo>
                    <a:lnTo>
                      <a:pt x="716280" y="0"/>
                    </a:lnTo>
                    <a:lnTo>
                      <a:pt x="662940" y="30480"/>
                    </a:lnTo>
                    <a:lnTo>
                      <a:pt x="502920" y="228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1" name="Freeform 200"/>
              <p:cNvSpPr/>
              <p:nvPr/>
            </p:nvSpPr>
            <p:spPr>
              <a:xfrm>
                <a:off x="2573234" y="3163440"/>
                <a:ext cx="537004" cy="455922"/>
              </a:xfrm>
              <a:custGeom>
                <a:avLst/>
                <a:gdLst>
                  <a:gd name="connsiteX0" fmla="*/ 944880 w 944880"/>
                  <a:gd name="connsiteY0" fmla="*/ 60960 h 777240"/>
                  <a:gd name="connsiteX1" fmla="*/ 861060 w 944880"/>
                  <a:gd name="connsiteY1" fmla="*/ 0 h 777240"/>
                  <a:gd name="connsiteX2" fmla="*/ 807720 w 944880"/>
                  <a:gd name="connsiteY2" fmla="*/ 38100 h 777240"/>
                  <a:gd name="connsiteX3" fmla="*/ 807720 w 944880"/>
                  <a:gd name="connsiteY3" fmla="*/ 91440 h 777240"/>
                  <a:gd name="connsiteX4" fmla="*/ 731520 w 944880"/>
                  <a:gd name="connsiteY4" fmla="*/ 152400 h 777240"/>
                  <a:gd name="connsiteX5" fmla="*/ 655320 w 944880"/>
                  <a:gd name="connsiteY5" fmla="*/ 114300 h 777240"/>
                  <a:gd name="connsiteX6" fmla="*/ 624840 w 944880"/>
                  <a:gd name="connsiteY6" fmla="*/ 38100 h 777240"/>
                  <a:gd name="connsiteX7" fmla="*/ 571500 w 944880"/>
                  <a:gd name="connsiteY7" fmla="*/ 38100 h 777240"/>
                  <a:gd name="connsiteX8" fmla="*/ 571500 w 944880"/>
                  <a:gd name="connsiteY8" fmla="*/ 38100 h 777240"/>
                  <a:gd name="connsiteX9" fmla="*/ 457200 w 944880"/>
                  <a:gd name="connsiteY9" fmla="*/ 53340 h 777240"/>
                  <a:gd name="connsiteX10" fmla="*/ 457200 w 944880"/>
                  <a:gd name="connsiteY10" fmla="*/ 175260 h 777240"/>
                  <a:gd name="connsiteX11" fmla="*/ 335280 w 944880"/>
                  <a:gd name="connsiteY11" fmla="*/ 220980 h 777240"/>
                  <a:gd name="connsiteX12" fmla="*/ 121920 w 944880"/>
                  <a:gd name="connsiteY12" fmla="*/ 365760 h 777240"/>
                  <a:gd name="connsiteX13" fmla="*/ 0 w 944880"/>
                  <a:gd name="connsiteY13" fmla="*/ 548640 h 777240"/>
                  <a:gd name="connsiteX14" fmla="*/ 175260 w 944880"/>
                  <a:gd name="connsiteY14" fmla="*/ 708660 h 777240"/>
                  <a:gd name="connsiteX15" fmla="*/ 320040 w 944880"/>
                  <a:gd name="connsiteY15" fmla="*/ 777240 h 777240"/>
                  <a:gd name="connsiteX16" fmla="*/ 388620 w 944880"/>
                  <a:gd name="connsiteY16" fmla="*/ 716280 h 777240"/>
                  <a:gd name="connsiteX17" fmla="*/ 411480 w 944880"/>
                  <a:gd name="connsiteY17" fmla="*/ 601980 h 777240"/>
                  <a:gd name="connsiteX18" fmla="*/ 571500 w 944880"/>
                  <a:gd name="connsiteY18" fmla="*/ 586740 h 777240"/>
                  <a:gd name="connsiteX19" fmla="*/ 708660 w 944880"/>
                  <a:gd name="connsiteY19" fmla="*/ 632460 h 777240"/>
                  <a:gd name="connsiteX20" fmla="*/ 731520 w 944880"/>
                  <a:gd name="connsiteY20" fmla="*/ 533400 h 777240"/>
                  <a:gd name="connsiteX21" fmla="*/ 822960 w 944880"/>
                  <a:gd name="connsiteY21" fmla="*/ 495300 h 777240"/>
                  <a:gd name="connsiteX22" fmla="*/ 876300 w 944880"/>
                  <a:gd name="connsiteY22" fmla="*/ 411480 h 777240"/>
                  <a:gd name="connsiteX23" fmla="*/ 861060 w 944880"/>
                  <a:gd name="connsiteY23" fmla="*/ 152400 h 777240"/>
                  <a:gd name="connsiteX24" fmla="*/ 944880 w 944880"/>
                  <a:gd name="connsiteY24" fmla="*/ 60960 h 77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44880" h="777240">
                    <a:moveTo>
                      <a:pt x="944880" y="60960"/>
                    </a:moveTo>
                    <a:lnTo>
                      <a:pt x="861060" y="0"/>
                    </a:lnTo>
                    <a:lnTo>
                      <a:pt x="807720" y="38100"/>
                    </a:lnTo>
                    <a:lnTo>
                      <a:pt x="807720" y="91440"/>
                    </a:lnTo>
                    <a:lnTo>
                      <a:pt x="731520" y="152400"/>
                    </a:lnTo>
                    <a:lnTo>
                      <a:pt x="655320" y="114300"/>
                    </a:lnTo>
                    <a:lnTo>
                      <a:pt x="624840" y="38100"/>
                    </a:lnTo>
                    <a:lnTo>
                      <a:pt x="571500" y="38100"/>
                    </a:lnTo>
                    <a:lnTo>
                      <a:pt x="571500" y="38100"/>
                    </a:lnTo>
                    <a:lnTo>
                      <a:pt x="457200" y="53340"/>
                    </a:lnTo>
                    <a:lnTo>
                      <a:pt x="457200" y="175260"/>
                    </a:lnTo>
                    <a:lnTo>
                      <a:pt x="335280" y="220980"/>
                    </a:lnTo>
                    <a:lnTo>
                      <a:pt x="121920" y="365760"/>
                    </a:lnTo>
                    <a:lnTo>
                      <a:pt x="0" y="548640"/>
                    </a:lnTo>
                    <a:lnTo>
                      <a:pt x="175260" y="708660"/>
                    </a:lnTo>
                    <a:lnTo>
                      <a:pt x="320040" y="777240"/>
                    </a:lnTo>
                    <a:lnTo>
                      <a:pt x="388620" y="716280"/>
                    </a:lnTo>
                    <a:lnTo>
                      <a:pt x="411480" y="601980"/>
                    </a:lnTo>
                    <a:lnTo>
                      <a:pt x="571500" y="586740"/>
                    </a:lnTo>
                    <a:lnTo>
                      <a:pt x="708660" y="632460"/>
                    </a:lnTo>
                    <a:lnTo>
                      <a:pt x="731520" y="533400"/>
                    </a:lnTo>
                    <a:lnTo>
                      <a:pt x="822960" y="495300"/>
                    </a:lnTo>
                    <a:lnTo>
                      <a:pt x="876300" y="411480"/>
                    </a:lnTo>
                    <a:lnTo>
                      <a:pt x="861060" y="152400"/>
                    </a:lnTo>
                    <a:lnTo>
                      <a:pt x="944880" y="609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2" name="Freeform 201"/>
              <p:cNvSpPr/>
              <p:nvPr/>
            </p:nvSpPr>
            <p:spPr>
              <a:xfrm>
                <a:off x="2166150" y="3476328"/>
                <a:ext cx="493698" cy="804569"/>
              </a:xfrm>
              <a:custGeom>
                <a:avLst/>
                <a:gdLst>
                  <a:gd name="connsiteX0" fmla="*/ 678180 w 868680"/>
                  <a:gd name="connsiteY0" fmla="*/ 15240 h 1371600"/>
                  <a:gd name="connsiteX1" fmla="*/ 617220 w 868680"/>
                  <a:gd name="connsiteY1" fmla="*/ 0 h 1371600"/>
                  <a:gd name="connsiteX2" fmla="*/ 449580 w 868680"/>
                  <a:gd name="connsiteY2" fmla="*/ 129540 h 1371600"/>
                  <a:gd name="connsiteX3" fmla="*/ 304800 w 868680"/>
                  <a:gd name="connsiteY3" fmla="*/ 182880 h 1371600"/>
                  <a:gd name="connsiteX4" fmla="*/ 190500 w 868680"/>
                  <a:gd name="connsiteY4" fmla="*/ 228600 h 1371600"/>
                  <a:gd name="connsiteX5" fmla="*/ 60960 w 868680"/>
                  <a:gd name="connsiteY5" fmla="*/ 335280 h 1371600"/>
                  <a:gd name="connsiteX6" fmla="*/ 91440 w 868680"/>
                  <a:gd name="connsiteY6" fmla="*/ 426720 h 1371600"/>
                  <a:gd name="connsiteX7" fmla="*/ 0 w 868680"/>
                  <a:gd name="connsiteY7" fmla="*/ 609600 h 1371600"/>
                  <a:gd name="connsiteX8" fmla="*/ 45720 w 868680"/>
                  <a:gd name="connsiteY8" fmla="*/ 647700 h 1371600"/>
                  <a:gd name="connsiteX9" fmla="*/ 53340 w 868680"/>
                  <a:gd name="connsiteY9" fmla="*/ 739140 h 1371600"/>
                  <a:gd name="connsiteX10" fmla="*/ 91440 w 868680"/>
                  <a:gd name="connsiteY10" fmla="*/ 769620 h 1371600"/>
                  <a:gd name="connsiteX11" fmla="*/ 76200 w 868680"/>
                  <a:gd name="connsiteY11" fmla="*/ 876300 h 1371600"/>
                  <a:gd name="connsiteX12" fmla="*/ 152400 w 868680"/>
                  <a:gd name="connsiteY12" fmla="*/ 952500 h 1371600"/>
                  <a:gd name="connsiteX13" fmla="*/ 114300 w 868680"/>
                  <a:gd name="connsiteY13" fmla="*/ 1051560 h 1371600"/>
                  <a:gd name="connsiteX14" fmla="*/ 236220 w 868680"/>
                  <a:gd name="connsiteY14" fmla="*/ 1112520 h 1371600"/>
                  <a:gd name="connsiteX15" fmla="*/ 281940 w 868680"/>
                  <a:gd name="connsiteY15" fmla="*/ 1196340 h 1371600"/>
                  <a:gd name="connsiteX16" fmla="*/ 281940 w 868680"/>
                  <a:gd name="connsiteY16" fmla="*/ 1226820 h 1371600"/>
                  <a:gd name="connsiteX17" fmla="*/ 327660 w 868680"/>
                  <a:gd name="connsiteY17" fmla="*/ 1333500 h 1371600"/>
                  <a:gd name="connsiteX18" fmla="*/ 617220 w 868680"/>
                  <a:gd name="connsiteY18" fmla="*/ 1371600 h 1371600"/>
                  <a:gd name="connsiteX19" fmla="*/ 678180 w 868680"/>
                  <a:gd name="connsiteY19" fmla="*/ 1158240 h 1371600"/>
                  <a:gd name="connsiteX20" fmla="*/ 617220 w 868680"/>
                  <a:gd name="connsiteY20" fmla="*/ 1082040 h 1371600"/>
                  <a:gd name="connsiteX21" fmla="*/ 655320 w 868680"/>
                  <a:gd name="connsiteY21" fmla="*/ 1005840 h 1371600"/>
                  <a:gd name="connsiteX22" fmla="*/ 670560 w 868680"/>
                  <a:gd name="connsiteY22" fmla="*/ 868680 h 1371600"/>
                  <a:gd name="connsiteX23" fmla="*/ 784860 w 868680"/>
                  <a:gd name="connsiteY23" fmla="*/ 617220 h 1371600"/>
                  <a:gd name="connsiteX24" fmla="*/ 815340 w 868680"/>
                  <a:gd name="connsiteY24" fmla="*/ 457200 h 1371600"/>
                  <a:gd name="connsiteX25" fmla="*/ 815340 w 868680"/>
                  <a:gd name="connsiteY25" fmla="*/ 358140 h 1371600"/>
                  <a:gd name="connsiteX26" fmla="*/ 868680 w 868680"/>
                  <a:gd name="connsiteY26" fmla="*/ 190500 h 1371600"/>
                  <a:gd name="connsiteX27" fmla="*/ 678180 w 868680"/>
                  <a:gd name="connsiteY27" fmla="*/ 15240 h 137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868680" h="1371600">
                    <a:moveTo>
                      <a:pt x="678180" y="15240"/>
                    </a:moveTo>
                    <a:lnTo>
                      <a:pt x="617220" y="0"/>
                    </a:lnTo>
                    <a:lnTo>
                      <a:pt x="449580" y="129540"/>
                    </a:lnTo>
                    <a:lnTo>
                      <a:pt x="304800" y="182880"/>
                    </a:lnTo>
                    <a:lnTo>
                      <a:pt x="190500" y="228600"/>
                    </a:lnTo>
                    <a:lnTo>
                      <a:pt x="60960" y="335280"/>
                    </a:lnTo>
                    <a:lnTo>
                      <a:pt x="91440" y="426720"/>
                    </a:lnTo>
                    <a:lnTo>
                      <a:pt x="0" y="609600"/>
                    </a:lnTo>
                    <a:lnTo>
                      <a:pt x="45720" y="647700"/>
                    </a:lnTo>
                    <a:lnTo>
                      <a:pt x="53340" y="739140"/>
                    </a:lnTo>
                    <a:lnTo>
                      <a:pt x="91440" y="769620"/>
                    </a:lnTo>
                    <a:lnTo>
                      <a:pt x="76200" y="876300"/>
                    </a:lnTo>
                    <a:lnTo>
                      <a:pt x="152400" y="952500"/>
                    </a:lnTo>
                    <a:lnTo>
                      <a:pt x="114300" y="1051560"/>
                    </a:lnTo>
                    <a:lnTo>
                      <a:pt x="236220" y="1112520"/>
                    </a:lnTo>
                    <a:lnTo>
                      <a:pt x="281940" y="1196340"/>
                    </a:lnTo>
                    <a:lnTo>
                      <a:pt x="281940" y="1226820"/>
                    </a:lnTo>
                    <a:lnTo>
                      <a:pt x="327660" y="1333500"/>
                    </a:lnTo>
                    <a:lnTo>
                      <a:pt x="617220" y="1371600"/>
                    </a:lnTo>
                    <a:lnTo>
                      <a:pt x="678180" y="1158240"/>
                    </a:lnTo>
                    <a:lnTo>
                      <a:pt x="617220" y="1082040"/>
                    </a:lnTo>
                    <a:lnTo>
                      <a:pt x="655320" y="1005840"/>
                    </a:lnTo>
                    <a:lnTo>
                      <a:pt x="670560" y="868680"/>
                    </a:lnTo>
                    <a:lnTo>
                      <a:pt x="784860" y="617220"/>
                    </a:lnTo>
                    <a:lnTo>
                      <a:pt x="815340" y="457200"/>
                    </a:lnTo>
                    <a:lnTo>
                      <a:pt x="815340" y="358140"/>
                    </a:lnTo>
                    <a:lnTo>
                      <a:pt x="868680" y="190500"/>
                    </a:lnTo>
                    <a:lnTo>
                      <a:pt x="678180" y="152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3" name="Freeform 202"/>
              <p:cNvSpPr/>
              <p:nvPr/>
            </p:nvSpPr>
            <p:spPr>
              <a:xfrm>
                <a:off x="2322054" y="3507616"/>
                <a:ext cx="814167" cy="849267"/>
              </a:xfrm>
              <a:custGeom>
                <a:avLst/>
                <a:gdLst>
                  <a:gd name="connsiteX0" fmla="*/ 53340 w 1432560"/>
                  <a:gd name="connsiteY0" fmla="*/ 1287780 h 1447800"/>
                  <a:gd name="connsiteX1" fmla="*/ 0 w 1432560"/>
                  <a:gd name="connsiteY1" fmla="*/ 1394460 h 1447800"/>
                  <a:gd name="connsiteX2" fmla="*/ 243840 w 1432560"/>
                  <a:gd name="connsiteY2" fmla="*/ 1417320 h 1447800"/>
                  <a:gd name="connsiteX3" fmla="*/ 335280 w 1432560"/>
                  <a:gd name="connsiteY3" fmla="*/ 1447800 h 1447800"/>
                  <a:gd name="connsiteX4" fmla="*/ 640080 w 1432560"/>
                  <a:gd name="connsiteY4" fmla="*/ 1371600 h 1447800"/>
                  <a:gd name="connsiteX5" fmla="*/ 723900 w 1432560"/>
                  <a:gd name="connsiteY5" fmla="*/ 1219200 h 1447800"/>
                  <a:gd name="connsiteX6" fmla="*/ 952500 w 1432560"/>
                  <a:gd name="connsiteY6" fmla="*/ 944880 h 1447800"/>
                  <a:gd name="connsiteX7" fmla="*/ 1181100 w 1432560"/>
                  <a:gd name="connsiteY7" fmla="*/ 693420 h 1447800"/>
                  <a:gd name="connsiteX8" fmla="*/ 1234440 w 1432560"/>
                  <a:gd name="connsiteY8" fmla="*/ 624840 h 1447800"/>
                  <a:gd name="connsiteX9" fmla="*/ 1371600 w 1432560"/>
                  <a:gd name="connsiteY9" fmla="*/ 518160 h 1447800"/>
                  <a:gd name="connsiteX10" fmla="*/ 1432560 w 1432560"/>
                  <a:gd name="connsiteY10" fmla="*/ 388620 h 1447800"/>
                  <a:gd name="connsiteX11" fmla="*/ 1272540 w 1432560"/>
                  <a:gd name="connsiteY11" fmla="*/ 304800 h 1447800"/>
                  <a:gd name="connsiteX12" fmla="*/ 1257300 w 1432560"/>
                  <a:gd name="connsiteY12" fmla="*/ 152400 h 1447800"/>
                  <a:gd name="connsiteX13" fmla="*/ 1059180 w 1432560"/>
                  <a:gd name="connsiteY13" fmla="*/ 0 h 1447800"/>
                  <a:gd name="connsiteX14" fmla="*/ 868680 w 1432560"/>
                  <a:gd name="connsiteY14" fmla="*/ 22860 h 1447800"/>
                  <a:gd name="connsiteX15" fmla="*/ 838200 w 1432560"/>
                  <a:gd name="connsiteY15" fmla="*/ 114300 h 1447800"/>
                  <a:gd name="connsiteX16" fmla="*/ 800100 w 1432560"/>
                  <a:gd name="connsiteY16" fmla="*/ 182880 h 1447800"/>
                  <a:gd name="connsiteX17" fmla="*/ 617220 w 1432560"/>
                  <a:gd name="connsiteY17" fmla="*/ 129540 h 1447800"/>
                  <a:gd name="connsiteX18" fmla="*/ 548640 w 1432560"/>
                  <a:gd name="connsiteY18" fmla="*/ 297180 h 1447800"/>
                  <a:gd name="connsiteX19" fmla="*/ 548640 w 1432560"/>
                  <a:gd name="connsiteY19" fmla="*/ 449580 h 1447800"/>
                  <a:gd name="connsiteX20" fmla="*/ 457200 w 1432560"/>
                  <a:gd name="connsiteY20" fmla="*/ 685800 h 1447800"/>
                  <a:gd name="connsiteX21" fmla="*/ 411480 w 1432560"/>
                  <a:gd name="connsiteY21" fmla="*/ 792480 h 1447800"/>
                  <a:gd name="connsiteX22" fmla="*/ 403860 w 1432560"/>
                  <a:gd name="connsiteY22" fmla="*/ 952500 h 1447800"/>
                  <a:gd name="connsiteX23" fmla="*/ 358140 w 1432560"/>
                  <a:gd name="connsiteY23" fmla="*/ 1005840 h 1447800"/>
                  <a:gd name="connsiteX24" fmla="*/ 403860 w 1432560"/>
                  <a:gd name="connsiteY24" fmla="*/ 1104900 h 1447800"/>
                  <a:gd name="connsiteX25" fmla="*/ 350520 w 1432560"/>
                  <a:gd name="connsiteY25" fmla="*/ 1318260 h 1447800"/>
                  <a:gd name="connsiteX26" fmla="*/ 53340 w 1432560"/>
                  <a:gd name="connsiteY26" fmla="*/ 1287780 h 1447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32560" h="1447800">
                    <a:moveTo>
                      <a:pt x="53340" y="1287780"/>
                    </a:moveTo>
                    <a:lnTo>
                      <a:pt x="0" y="1394460"/>
                    </a:lnTo>
                    <a:lnTo>
                      <a:pt x="243840" y="1417320"/>
                    </a:lnTo>
                    <a:lnTo>
                      <a:pt x="335280" y="1447800"/>
                    </a:lnTo>
                    <a:lnTo>
                      <a:pt x="640080" y="1371600"/>
                    </a:lnTo>
                    <a:lnTo>
                      <a:pt x="723900" y="1219200"/>
                    </a:lnTo>
                    <a:lnTo>
                      <a:pt x="952500" y="944880"/>
                    </a:lnTo>
                    <a:lnTo>
                      <a:pt x="1181100" y="693420"/>
                    </a:lnTo>
                    <a:lnTo>
                      <a:pt x="1234440" y="624840"/>
                    </a:lnTo>
                    <a:lnTo>
                      <a:pt x="1371600" y="518160"/>
                    </a:lnTo>
                    <a:lnTo>
                      <a:pt x="1432560" y="388620"/>
                    </a:lnTo>
                    <a:lnTo>
                      <a:pt x="1272540" y="304800"/>
                    </a:lnTo>
                    <a:lnTo>
                      <a:pt x="1257300" y="152400"/>
                    </a:lnTo>
                    <a:lnTo>
                      <a:pt x="1059180" y="0"/>
                    </a:lnTo>
                    <a:lnTo>
                      <a:pt x="868680" y="22860"/>
                    </a:lnTo>
                    <a:lnTo>
                      <a:pt x="838200" y="114300"/>
                    </a:lnTo>
                    <a:lnTo>
                      <a:pt x="800100" y="182880"/>
                    </a:lnTo>
                    <a:lnTo>
                      <a:pt x="617220" y="129540"/>
                    </a:lnTo>
                    <a:lnTo>
                      <a:pt x="548640" y="297180"/>
                    </a:lnTo>
                    <a:lnTo>
                      <a:pt x="548640" y="449580"/>
                    </a:lnTo>
                    <a:lnTo>
                      <a:pt x="457200" y="685800"/>
                    </a:lnTo>
                    <a:lnTo>
                      <a:pt x="411480" y="792480"/>
                    </a:lnTo>
                    <a:lnTo>
                      <a:pt x="403860" y="952500"/>
                    </a:lnTo>
                    <a:lnTo>
                      <a:pt x="358140" y="1005840"/>
                    </a:lnTo>
                    <a:lnTo>
                      <a:pt x="403860" y="1104900"/>
                    </a:lnTo>
                    <a:lnTo>
                      <a:pt x="350520" y="1318260"/>
                    </a:lnTo>
                    <a:lnTo>
                      <a:pt x="53340" y="128778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4" name="Freeform 203"/>
              <p:cNvSpPr/>
              <p:nvPr/>
            </p:nvSpPr>
            <p:spPr>
              <a:xfrm>
                <a:off x="2742131" y="3811563"/>
                <a:ext cx="606296" cy="590016"/>
              </a:xfrm>
              <a:custGeom>
                <a:avLst/>
                <a:gdLst>
                  <a:gd name="connsiteX0" fmla="*/ 0 w 1066800"/>
                  <a:gd name="connsiteY0" fmla="*/ 708660 h 1005840"/>
                  <a:gd name="connsiteX1" fmla="*/ 114300 w 1066800"/>
                  <a:gd name="connsiteY1" fmla="*/ 800100 h 1005840"/>
                  <a:gd name="connsiteX2" fmla="*/ 144780 w 1066800"/>
                  <a:gd name="connsiteY2" fmla="*/ 1005840 h 1005840"/>
                  <a:gd name="connsiteX3" fmla="*/ 220980 w 1066800"/>
                  <a:gd name="connsiteY3" fmla="*/ 967740 h 1005840"/>
                  <a:gd name="connsiteX4" fmla="*/ 228600 w 1066800"/>
                  <a:gd name="connsiteY4" fmla="*/ 906780 h 1005840"/>
                  <a:gd name="connsiteX5" fmla="*/ 419100 w 1066800"/>
                  <a:gd name="connsiteY5" fmla="*/ 845820 h 1005840"/>
                  <a:gd name="connsiteX6" fmla="*/ 449580 w 1066800"/>
                  <a:gd name="connsiteY6" fmla="*/ 967740 h 1005840"/>
                  <a:gd name="connsiteX7" fmla="*/ 563880 w 1066800"/>
                  <a:gd name="connsiteY7" fmla="*/ 929640 h 1005840"/>
                  <a:gd name="connsiteX8" fmla="*/ 594360 w 1066800"/>
                  <a:gd name="connsiteY8" fmla="*/ 861060 h 1005840"/>
                  <a:gd name="connsiteX9" fmla="*/ 723900 w 1066800"/>
                  <a:gd name="connsiteY9" fmla="*/ 922020 h 1005840"/>
                  <a:gd name="connsiteX10" fmla="*/ 822960 w 1066800"/>
                  <a:gd name="connsiteY10" fmla="*/ 899160 h 1005840"/>
                  <a:gd name="connsiteX11" fmla="*/ 883920 w 1066800"/>
                  <a:gd name="connsiteY11" fmla="*/ 800100 h 1005840"/>
                  <a:gd name="connsiteX12" fmla="*/ 906780 w 1066800"/>
                  <a:gd name="connsiteY12" fmla="*/ 754380 h 1005840"/>
                  <a:gd name="connsiteX13" fmla="*/ 1059180 w 1066800"/>
                  <a:gd name="connsiteY13" fmla="*/ 640080 h 1005840"/>
                  <a:gd name="connsiteX14" fmla="*/ 1066800 w 1066800"/>
                  <a:gd name="connsiteY14" fmla="*/ 533400 h 1005840"/>
                  <a:gd name="connsiteX15" fmla="*/ 1036320 w 1066800"/>
                  <a:gd name="connsiteY15" fmla="*/ 495300 h 1005840"/>
                  <a:gd name="connsiteX16" fmla="*/ 982980 w 1066800"/>
                  <a:gd name="connsiteY16" fmla="*/ 403860 h 1005840"/>
                  <a:gd name="connsiteX17" fmla="*/ 1021080 w 1066800"/>
                  <a:gd name="connsiteY17" fmla="*/ 342900 h 1005840"/>
                  <a:gd name="connsiteX18" fmla="*/ 1036320 w 1066800"/>
                  <a:gd name="connsiteY18" fmla="*/ 236220 h 1005840"/>
                  <a:gd name="connsiteX19" fmla="*/ 1059180 w 1066800"/>
                  <a:gd name="connsiteY19" fmla="*/ 182880 h 1005840"/>
                  <a:gd name="connsiteX20" fmla="*/ 1021080 w 1066800"/>
                  <a:gd name="connsiteY20" fmla="*/ 129540 h 1005840"/>
                  <a:gd name="connsiteX21" fmla="*/ 1043940 w 1066800"/>
                  <a:gd name="connsiteY21" fmla="*/ 76200 h 1005840"/>
                  <a:gd name="connsiteX22" fmla="*/ 861060 w 1066800"/>
                  <a:gd name="connsiteY22" fmla="*/ 7620 h 1005840"/>
                  <a:gd name="connsiteX23" fmla="*/ 701040 w 1066800"/>
                  <a:gd name="connsiteY23" fmla="*/ 45720 h 1005840"/>
                  <a:gd name="connsiteX24" fmla="*/ 662940 w 1066800"/>
                  <a:gd name="connsiteY24" fmla="*/ 0 h 1005840"/>
                  <a:gd name="connsiteX25" fmla="*/ 502920 w 1066800"/>
                  <a:gd name="connsiteY25" fmla="*/ 99060 h 1005840"/>
                  <a:gd name="connsiteX26" fmla="*/ 434340 w 1066800"/>
                  <a:gd name="connsiteY26" fmla="*/ 198120 h 1005840"/>
                  <a:gd name="connsiteX27" fmla="*/ 220980 w 1066800"/>
                  <a:gd name="connsiteY27" fmla="*/ 396240 h 1005840"/>
                  <a:gd name="connsiteX28" fmla="*/ 0 w 1066800"/>
                  <a:gd name="connsiteY28" fmla="*/ 708660 h 100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66800" h="1005840">
                    <a:moveTo>
                      <a:pt x="0" y="708660"/>
                    </a:moveTo>
                    <a:lnTo>
                      <a:pt x="114300" y="800100"/>
                    </a:lnTo>
                    <a:lnTo>
                      <a:pt x="144780" y="1005840"/>
                    </a:lnTo>
                    <a:lnTo>
                      <a:pt x="220980" y="967740"/>
                    </a:lnTo>
                    <a:lnTo>
                      <a:pt x="228600" y="906780"/>
                    </a:lnTo>
                    <a:lnTo>
                      <a:pt x="419100" y="845820"/>
                    </a:lnTo>
                    <a:lnTo>
                      <a:pt x="449580" y="967740"/>
                    </a:lnTo>
                    <a:lnTo>
                      <a:pt x="563880" y="929640"/>
                    </a:lnTo>
                    <a:lnTo>
                      <a:pt x="594360" y="861060"/>
                    </a:lnTo>
                    <a:lnTo>
                      <a:pt x="723900" y="922020"/>
                    </a:lnTo>
                    <a:lnTo>
                      <a:pt x="822960" y="899160"/>
                    </a:lnTo>
                    <a:lnTo>
                      <a:pt x="883920" y="800100"/>
                    </a:lnTo>
                    <a:lnTo>
                      <a:pt x="906780" y="754380"/>
                    </a:lnTo>
                    <a:lnTo>
                      <a:pt x="1059180" y="640080"/>
                    </a:lnTo>
                    <a:lnTo>
                      <a:pt x="1066800" y="533400"/>
                    </a:lnTo>
                    <a:lnTo>
                      <a:pt x="1036320" y="495300"/>
                    </a:lnTo>
                    <a:lnTo>
                      <a:pt x="982980" y="403860"/>
                    </a:lnTo>
                    <a:lnTo>
                      <a:pt x="1021080" y="342900"/>
                    </a:lnTo>
                    <a:lnTo>
                      <a:pt x="1036320" y="236220"/>
                    </a:lnTo>
                    <a:lnTo>
                      <a:pt x="1059180" y="182880"/>
                    </a:lnTo>
                    <a:lnTo>
                      <a:pt x="1021080" y="129540"/>
                    </a:lnTo>
                    <a:lnTo>
                      <a:pt x="1043940" y="76200"/>
                    </a:lnTo>
                    <a:lnTo>
                      <a:pt x="861060" y="7620"/>
                    </a:lnTo>
                    <a:lnTo>
                      <a:pt x="701040" y="45720"/>
                    </a:lnTo>
                    <a:lnTo>
                      <a:pt x="662940" y="0"/>
                    </a:lnTo>
                    <a:lnTo>
                      <a:pt x="502920" y="99060"/>
                    </a:lnTo>
                    <a:lnTo>
                      <a:pt x="434340" y="198120"/>
                    </a:lnTo>
                    <a:lnTo>
                      <a:pt x="220980" y="396240"/>
                    </a:lnTo>
                    <a:lnTo>
                      <a:pt x="0" y="70866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5" name="Freeform 204"/>
              <p:cNvSpPr/>
              <p:nvPr/>
            </p:nvSpPr>
            <p:spPr>
              <a:xfrm>
                <a:off x="2997642" y="3874143"/>
                <a:ext cx="935427" cy="701761"/>
              </a:xfrm>
              <a:custGeom>
                <a:avLst/>
                <a:gdLst>
                  <a:gd name="connsiteX0" fmla="*/ 0 w 1645920"/>
                  <a:gd name="connsiteY0" fmla="*/ 883920 h 1196340"/>
                  <a:gd name="connsiteX1" fmla="*/ 0 w 1645920"/>
                  <a:gd name="connsiteY1" fmla="*/ 883920 h 1196340"/>
                  <a:gd name="connsiteX2" fmla="*/ 53340 w 1645920"/>
                  <a:gd name="connsiteY2" fmla="*/ 975360 h 1196340"/>
                  <a:gd name="connsiteX3" fmla="*/ 60960 w 1645920"/>
                  <a:gd name="connsiteY3" fmla="*/ 1059180 h 1196340"/>
                  <a:gd name="connsiteX4" fmla="*/ 144780 w 1645920"/>
                  <a:gd name="connsiteY4" fmla="*/ 1051560 h 1196340"/>
                  <a:gd name="connsiteX5" fmla="*/ 274320 w 1645920"/>
                  <a:gd name="connsiteY5" fmla="*/ 1196340 h 1196340"/>
                  <a:gd name="connsiteX6" fmla="*/ 320040 w 1645920"/>
                  <a:gd name="connsiteY6" fmla="*/ 1066800 h 1196340"/>
                  <a:gd name="connsiteX7" fmla="*/ 403860 w 1645920"/>
                  <a:gd name="connsiteY7" fmla="*/ 1043940 h 1196340"/>
                  <a:gd name="connsiteX8" fmla="*/ 396240 w 1645920"/>
                  <a:gd name="connsiteY8" fmla="*/ 982980 h 1196340"/>
                  <a:gd name="connsiteX9" fmla="*/ 464820 w 1645920"/>
                  <a:gd name="connsiteY9" fmla="*/ 1051560 h 1196340"/>
                  <a:gd name="connsiteX10" fmla="*/ 525780 w 1645920"/>
                  <a:gd name="connsiteY10" fmla="*/ 1021080 h 1196340"/>
                  <a:gd name="connsiteX11" fmla="*/ 533400 w 1645920"/>
                  <a:gd name="connsiteY11" fmla="*/ 937260 h 1196340"/>
                  <a:gd name="connsiteX12" fmla="*/ 609600 w 1645920"/>
                  <a:gd name="connsiteY12" fmla="*/ 891540 h 1196340"/>
                  <a:gd name="connsiteX13" fmla="*/ 655320 w 1645920"/>
                  <a:gd name="connsiteY13" fmla="*/ 906780 h 1196340"/>
                  <a:gd name="connsiteX14" fmla="*/ 731520 w 1645920"/>
                  <a:gd name="connsiteY14" fmla="*/ 838200 h 1196340"/>
                  <a:gd name="connsiteX15" fmla="*/ 800100 w 1645920"/>
                  <a:gd name="connsiteY15" fmla="*/ 876300 h 1196340"/>
                  <a:gd name="connsiteX16" fmla="*/ 792480 w 1645920"/>
                  <a:gd name="connsiteY16" fmla="*/ 937260 h 1196340"/>
                  <a:gd name="connsiteX17" fmla="*/ 861060 w 1645920"/>
                  <a:gd name="connsiteY17" fmla="*/ 922020 h 1196340"/>
                  <a:gd name="connsiteX18" fmla="*/ 861060 w 1645920"/>
                  <a:gd name="connsiteY18" fmla="*/ 1066800 h 1196340"/>
                  <a:gd name="connsiteX19" fmla="*/ 982980 w 1645920"/>
                  <a:gd name="connsiteY19" fmla="*/ 1082040 h 1196340"/>
                  <a:gd name="connsiteX20" fmla="*/ 1127760 w 1645920"/>
                  <a:gd name="connsiteY20" fmla="*/ 1013460 h 1196340"/>
                  <a:gd name="connsiteX21" fmla="*/ 1158240 w 1645920"/>
                  <a:gd name="connsiteY21" fmla="*/ 1036320 h 1196340"/>
                  <a:gd name="connsiteX22" fmla="*/ 1165860 w 1645920"/>
                  <a:gd name="connsiteY22" fmla="*/ 1112520 h 1196340"/>
                  <a:gd name="connsiteX23" fmla="*/ 1264920 w 1645920"/>
                  <a:gd name="connsiteY23" fmla="*/ 1021080 h 1196340"/>
                  <a:gd name="connsiteX24" fmla="*/ 1264920 w 1645920"/>
                  <a:gd name="connsiteY24" fmla="*/ 944880 h 1196340"/>
                  <a:gd name="connsiteX25" fmla="*/ 1386840 w 1645920"/>
                  <a:gd name="connsiteY25" fmla="*/ 929640 h 1196340"/>
                  <a:gd name="connsiteX26" fmla="*/ 1470660 w 1645920"/>
                  <a:gd name="connsiteY26" fmla="*/ 861060 h 1196340"/>
                  <a:gd name="connsiteX27" fmla="*/ 1584960 w 1645920"/>
                  <a:gd name="connsiteY27" fmla="*/ 838200 h 1196340"/>
                  <a:gd name="connsiteX28" fmla="*/ 1493520 w 1645920"/>
                  <a:gd name="connsiteY28" fmla="*/ 708660 h 1196340"/>
                  <a:gd name="connsiteX29" fmla="*/ 1493520 w 1645920"/>
                  <a:gd name="connsiteY29" fmla="*/ 655320 h 1196340"/>
                  <a:gd name="connsiteX30" fmla="*/ 1524000 w 1645920"/>
                  <a:gd name="connsiteY30" fmla="*/ 586740 h 1196340"/>
                  <a:gd name="connsiteX31" fmla="*/ 1539240 w 1645920"/>
                  <a:gd name="connsiteY31" fmla="*/ 548640 h 1196340"/>
                  <a:gd name="connsiteX32" fmla="*/ 1432560 w 1645920"/>
                  <a:gd name="connsiteY32" fmla="*/ 495300 h 1196340"/>
                  <a:gd name="connsiteX33" fmla="*/ 1569720 w 1645920"/>
                  <a:gd name="connsiteY33" fmla="*/ 281940 h 1196340"/>
                  <a:gd name="connsiteX34" fmla="*/ 1615440 w 1645920"/>
                  <a:gd name="connsiteY34" fmla="*/ 236220 h 1196340"/>
                  <a:gd name="connsiteX35" fmla="*/ 1623060 w 1645920"/>
                  <a:gd name="connsiteY35" fmla="*/ 167640 h 1196340"/>
                  <a:gd name="connsiteX36" fmla="*/ 1645920 w 1645920"/>
                  <a:gd name="connsiteY36" fmla="*/ 121920 h 1196340"/>
                  <a:gd name="connsiteX37" fmla="*/ 1584960 w 1645920"/>
                  <a:gd name="connsiteY37" fmla="*/ 53340 h 1196340"/>
                  <a:gd name="connsiteX38" fmla="*/ 1516380 w 1645920"/>
                  <a:gd name="connsiteY38" fmla="*/ 22860 h 1196340"/>
                  <a:gd name="connsiteX39" fmla="*/ 1417320 w 1645920"/>
                  <a:gd name="connsiteY39" fmla="*/ 30480 h 1196340"/>
                  <a:gd name="connsiteX40" fmla="*/ 1386840 w 1645920"/>
                  <a:gd name="connsiteY40" fmla="*/ 0 h 1196340"/>
                  <a:gd name="connsiteX41" fmla="*/ 1356360 w 1645920"/>
                  <a:gd name="connsiteY41" fmla="*/ 60960 h 1196340"/>
                  <a:gd name="connsiteX42" fmla="*/ 1242060 w 1645920"/>
                  <a:gd name="connsiteY42" fmla="*/ 83820 h 1196340"/>
                  <a:gd name="connsiteX43" fmla="*/ 1226820 w 1645920"/>
                  <a:gd name="connsiteY43" fmla="*/ 68580 h 1196340"/>
                  <a:gd name="connsiteX44" fmla="*/ 1158240 w 1645920"/>
                  <a:gd name="connsiteY44" fmla="*/ 144780 h 1196340"/>
                  <a:gd name="connsiteX45" fmla="*/ 1051560 w 1645920"/>
                  <a:gd name="connsiteY45" fmla="*/ 144780 h 1196340"/>
                  <a:gd name="connsiteX46" fmla="*/ 1043940 w 1645920"/>
                  <a:gd name="connsiteY46" fmla="*/ 99060 h 1196340"/>
                  <a:gd name="connsiteX47" fmla="*/ 937260 w 1645920"/>
                  <a:gd name="connsiteY47" fmla="*/ 167640 h 1196340"/>
                  <a:gd name="connsiteX48" fmla="*/ 838200 w 1645920"/>
                  <a:gd name="connsiteY48" fmla="*/ 152400 h 1196340"/>
                  <a:gd name="connsiteX49" fmla="*/ 784860 w 1645920"/>
                  <a:gd name="connsiteY49" fmla="*/ 137160 h 1196340"/>
                  <a:gd name="connsiteX50" fmla="*/ 784860 w 1645920"/>
                  <a:gd name="connsiteY50" fmla="*/ 30480 h 1196340"/>
                  <a:gd name="connsiteX51" fmla="*/ 617220 w 1645920"/>
                  <a:gd name="connsiteY51" fmla="*/ 68580 h 1196340"/>
                  <a:gd name="connsiteX52" fmla="*/ 617220 w 1645920"/>
                  <a:gd name="connsiteY52" fmla="*/ 68580 h 1196340"/>
                  <a:gd name="connsiteX53" fmla="*/ 579120 w 1645920"/>
                  <a:gd name="connsiteY53" fmla="*/ 198120 h 1196340"/>
                  <a:gd name="connsiteX54" fmla="*/ 541020 w 1645920"/>
                  <a:gd name="connsiteY54" fmla="*/ 281940 h 1196340"/>
                  <a:gd name="connsiteX55" fmla="*/ 617220 w 1645920"/>
                  <a:gd name="connsiteY55" fmla="*/ 457200 h 1196340"/>
                  <a:gd name="connsiteX56" fmla="*/ 617220 w 1645920"/>
                  <a:gd name="connsiteY56" fmla="*/ 533400 h 1196340"/>
                  <a:gd name="connsiteX57" fmla="*/ 480060 w 1645920"/>
                  <a:gd name="connsiteY57" fmla="*/ 617220 h 1196340"/>
                  <a:gd name="connsiteX58" fmla="*/ 358140 w 1645920"/>
                  <a:gd name="connsiteY58" fmla="*/ 800100 h 1196340"/>
                  <a:gd name="connsiteX59" fmla="*/ 289560 w 1645920"/>
                  <a:gd name="connsiteY59" fmla="*/ 830580 h 1196340"/>
                  <a:gd name="connsiteX60" fmla="*/ 144780 w 1645920"/>
                  <a:gd name="connsiteY60" fmla="*/ 777240 h 1196340"/>
                  <a:gd name="connsiteX61" fmla="*/ 129540 w 1645920"/>
                  <a:gd name="connsiteY61" fmla="*/ 815340 h 1196340"/>
                  <a:gd name="connsiteX62" fmla="*/ 0 w 1645920"/>
                  <a:gd name="connsiteY62" fmla="*/ 883920 h 1196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1645920" h="1196340">
                    <a:moveTo>
                      <a:pt x="0" y="883920"/>
                    </a:moveTo>
                    <a:lnTo>
                      <a:pt x="0" y="883920"/>
                    </a:lnTo>
                    <a:lnTo>
                      <a:pt x="53340" y="975360"/>
                    </a:lnTo>
                    <a:lnTo>
                      <a:pt x="60960" y="1059180"/>
                    </a:lnTo>
                    <a:lnTo>
                      <a:pt x="144780" y="1051560"/>
                    </a:lnTo>
                    <a:lnTo>
                      <a:pt x="274320" y="1196340"/>
                    </a:lnTo>
                    <a:lnTo>
                      <a:pt x="320040" y="1066800"/>
                    </a:lnTo>
                    <a:lnTo>
                      <a:pt x="403860" y="1043940"/>
                    </a:lnTo>
                    <a:lnTo>
                      <a:pt x="396240" y="982980"/>
                    </a:lnTo>
                    <a:lnTo>
                      <a:pt x="464820" y="1051560"/>
                    </a:lnTo>
                    <a:lnTo>
                      <a:pt x="525780" y="1021080"/>
                    </a:lnTo>
                    <a:lnTo>
                      <a:pt x="533400" y="937260"/>
                    </a:lnTo>
                    <a:lnTo>
                      <a:pt x="609600" y="891540"/>
                    </a:lnTo>
                    <a:lnTo>
                      <a:pt x="655320" y="906780"/>
                    </a:lnTo>
                    <a:lnTo>
                      <a:pt x="731520" y="838200"/>
                    </a:lnTo>
                    <a:lnTo>
                      <a:pt x="800100" y="876300"/>
                    </a:lnTo>
                    <a:lnTo>
                      <a:pt x="792480" y="937260"/>
                    </a:lnTo>
                    <a:lnTo>
                      <a:pt x="861060" y="922020"/>
                    </a:lnTo>
                    <a:lnTo>
                      <a:pt x="861060" y="1066800"/>
                    </a:lnTo>
                    <a:lnTo>
                      <a:pt x="982980" y="1082040"/>
                    </a:lnTo>
                    <a:lnTo>
                      <a:pt x="1127760" y="1013460"/>
                    </a:lnTo>
                    <a:lnTo>
                      <a:pt x="1158240" y="1036320"/>
                    </a:lnTo>
                    <a:lnTo>
                      <a:pt x="1165860" y="1112520"/>
                    </a:lnTo>
                    <a:lnTo>
                      <a:pt x="1264920" y="1021080"/>
                    </a:lnTo>
                    <a:lnTo>
                      <a:pt x="1264920" y="944880"/>
                    </a:lnTo>
                    <a:lnTo>
                      <a:pt x="1386840" y="929640"/>
                    </a:lnTo>
                    <a:lnTo>
                      <a:pt x="1470660" y="861060"/>
                    </a:lnTo>
                    <a:lnTo>
                      <a:pt x="1584960" y="838200"/>
                    </a:lnTo>
                    <a:lnTo>
                      <a:pt x="1493520" y="708660"/>
                    </a:lnTo>
                    <a:lnTo>
                      <a:pt x="1493520" y="655320"/>
                    </a:lnTo>
                    <a:lnTo>
                      <a:pt x="1524000" y="586740"/>
                    </a:lnTo>
                    <a:lnTo>
                      <a:pt x="1539240" y="548640"/>
                    </a:lnTo>
                    <a:lnTo>
                      <a:pt x="1432560" y="495300"/>
                    </a:lnTo>
                    <a:lnTo>
                      <a:pt x="1569720" y="281940"/>
                    </a:lnTo>
                    <a:lnTo>
                      <a:pt x="1615440" y="236220"/>
                    </a:lnTo>
                    <a:lnTo>
                      <a:pt x="1623060" y="167640"/>
                    </a:lnTo>
                    <a:lnTo>
                      <a:pt x="1645920" y="121920"/>
                    </a:lnTo>
                    <a:lnTo>
                      <a:pt x="1584960" y="53340"/>
                    </a:lnTo>
                    <a:lnTo>
                      <a:pt x="1516380" y="22860"/>
                    </a:lnTo>
                    <a:lnTo>
                      <a:pt x="1417320" y="30480"/>
                    </a:lnTo>
                    <a:lnTo>
                      <a:pt x="1386840" y="0"/>
                    </a:lnTo>
                    <a:lnTo>
                      <a:pt x="1356360" y="60960"/>
                    </a:lnTo>
                    <a:lnTo>
                      <a:pt x="1242060" y="83820"/>
                    </a:lnTo>
                    <a:lnTo>
                      <a:pt x="1226820" y="68580"/>
                    </a:lnTo>
                    <a:lnTo>
                      <a:pt x="1158240" y="144780"/>
                    </a:lnTo>
                    <a:lnTo>
                      <a:pt x="1051560" y="144780"/>
                    </a:lnTo>
                    <a:lnTo>
                      <a:pt x="1043940" y="99060"/>
                    </a:lnTo>
                    <a:lnTo>
                      <a:pt x="937260" y="167640"/>
                    </a:lnTo>
                    <a:lnTo>
                      <a:pt x="838200" y="152400"/>
                    </a:lnTo>
                    <a:lnTo>
                      <a:pt x="784860" y="137160"/>
                    </a:lnTo>
                    <a:lnTo>
                      <a:pt x="784860" y="30480"/>
                    </a:lnTo>
                    <a:lnTo>
                      <a:pt x="617220" y="68580"/>
                    </a:lnTo>
                    <a:lnTo>
                      <a:pt x="617220" y="68580"/>
                    </a:lnTo>
                    <a:lnTo>
                      <a:pt x="579120" y="198120"/>
                    </a:lnTo>
                    <a:lnTo>
                      <a:pt x="541020" y="281940"/>
                    </a:lnTo>
                    <a:lnTo>
                      <a:pt x="617220" y="457200"/>
                    </a:lnTo>
                    <a:lnTo>
                      <a:pt x="617220" y="533400"/>
                    </a:lnTo>
                    <a:lnTo>
                      <a:pt x="480060" y="617220"/>
                    </a:lnTo>
                    <a:lnTo>
                      <a:pt x="358140" y="800100"/>
                    </a:lnTo>
                    <a:lnTo>
                      <a:pt x="289560" y="830580"/>
                    </a:lnTo>
                    <a:lnTo>
                      <a:pt x="144780" y="777240"/>
                    </a:lnTo>
                    <a:lnTo>
                      <a:pt x="129540" y="815340"/>
                    </a:lnTo>
                    <a:lnTo>
                      <a:pt x="0" y="8839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6" name="Freeform 205"/>
              <p:cNvSpPr/>
              <p:nvPr/>
            </p:nvSpPr>
            <p:spPr>
              <a:xfrm>
                <a:off x="3110239" y="3610421"/>
                <a:ext cx="398423" cy="312887"/>
              </a:xfrm>
              <a:custGeom>
                <a:avLst/>
                <a:gdLst>
                  <a:gd name="connsiteX0" fmla="*/ 53340 w 701040"/>
                  <a:gd name="connsiteY0" fmla="*/ 388620 h 533400"/>
                  <a:gd name="connsiteX1" fmla="*/ 0 w 701040"/>
                  <a:gd name="connsiteY1" fmla="*/ 327660 h 533400"/>
                  <a:gd name="connsiteX2" fmla="*/ 45720 w 701040"/>
                  <a:gd name="connsiteY2" fmla="*/ 198120 h 533400"/>
                  <a:gd name="connsiteX3" fmla="*/ 335280 w 701040"/>
                  <a:gd name="connsiteY3" fmla="*/ 114300 h 533400"/>
                  <a:gd name="connsiteX4" fmla="*/ 365760 w 701040"/>
                  <a:gd name="connsiteY4" fmla="*/ 83820 h 533400"/>
                  <a:gd name="connsiteX5" fmla="*/ 464820 w 701040"/>
                  <a:gd name="connsiteY5" fmla="*/ 0 h 533400"/>
                  <a:gd name="connsiteX6" fmla="*/ 449580 w 701040"/>
                  <a:gd name="connsiteY6" fmla="*/ 91440 h 533400"/>
                  <a:gd name="connsiteX7" fmla="*/ 556260 w 701040"/>
                  <a:gd name="connsiteY7" fmla="*/ 83820 h 533400"/>
                  <a:gd name="connsiteX8" fmla="*/ 502920 w 701040"/>
                  <a:gd name="connsiteY8" fmla="*/ 152400 h 533400"/>
                  <a:gd name="connsiteX9" fmla="*/ 701040 w 701040"/>
                  <a:gd name="connsiteY9" fmla="*/ 152400 h 533400"/>
                  <a:gd name="connsiteX10" fmla="*/ 579120 w 701040"/>
                  <a:gd name="connsiteY10" fmla="*/ 274320 h 533400"/>
                  <a:gd name="connsiteX11" fmla="*/ 609600 w 701040"/>
                  <a:gd name="connsiteY11" fmla="*/ 373380 h 533400"/>
                  <a:gd name="connsiteX12" fmla="*/ 571500 w 701040"/>
                  <a:gd name="connsiteY12" fmla="*/ 480060 h 533400"/>
                  <a:gd name="connsiteX13" fmla="*/ 396240 w 701040"/>
                  <a:gd name="connsiteY13" fmla="*/ 533400 h 533400"/>
                  <a:gd name="connsiteX14" fmla="*/ 381000 w 701040"/>
                  <a:gd name="connsiteY14" fmla="*/ 487680 h 533400"/>
                  <a:gd name="connsiteX15" fmla="*/ 403860 w 701040"/>
                  <a:gd name="connsiteY15" fmla="*/ 419100 h 533400"/>
                  <a:gd name="connsiteX16" fmla="*/ 236220 w 701040"/>
                  <a:gd name="connsiteY16" fmla="*/ 342900 h 533400"/>
                  <a:gd name="connsiteX17" fmla="*/ 53340 w 701040"/>
                  <a:gd name="connsiteY17" fmla="*/ 38862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01040" h="533400">
                    <a:moveTo>
                      <a:pt x="53340" y="388620"/>
                    </a:moveTo>
                    <a:lnTo>
                      <a:pt x="0" y="327660"/>
                    </a:lnTo>
                    <a:lnTo>
                      <a:pt x="45720" y="198120"/>
                    </a:lnTo>
                    <a:lnTo>
                      <a:pt x="335280" y="114300"/>
                    </a:lnTo>
                    <a:lnTo>
                      <a:pt x="365760" y="83820"/>
                    </a:lnTo>
                    <a:lnTo>
                      <a:pt x="464820" y="0"/>
                    </a:lnTo>
                    <a:lnTo>
                      <a:pt x="449580" y="91440"/>
                    </a:lnTo>
                    <a:lnTo>
                      <a:pt x="556260" y="83820"/>
                    </a:lnTo>
                    <a:lnTo>
                      <a:pt x="502920" y="152400"/>
                    </a:lnTo>
                    <a:lnTo>
                      <a:pt x="701040" y="152400"/>
                    </a:lnTo>
                    <a:lnTo>
                      <a:pt x="579120" y="274320"/>
                    </a:lnTo>
                    <a:lnTo>
                      <a:pt x="609600" y="373380"/>
                    </a:lnTo>
                    <a:lnTo>
                      <a:pt x="571500" y="480060"/>
                    </a:lnTo>
                    <a:lnTo>
                      <a:pt x="396240" y="533400"/>
                    </a:lnTo>
                    <a:lnTo>
                      <a:pt x="381000" y="487680"/>
                    </a:lnTo>
                    <a:lnTo>
                      <a:pt x="403860" y="419100"/>
                    </a:lnTo>
                    <a:lnTo>
                      <a:pt x="236220" y="342900"/>
                    </a:lnTo>
                    <a:lnTo>
                      <a:pt x="53340" y="38862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7" name="Freeform 206"/>
              <p:cNvSpPr/>
              <p:nvPr/>
            </p:nvSpPr>
            <p:spPr>
              <a:xfrm>
                <a:off x="3374410" y="3208138"/>
                <a:ext cx="1125977" cy="491680"/>
              </a:xfrm>
              <a:custGeom>
                <a:avLst/>
                <a:gdLst>
                  <a:gd name="connsiteX0" fmla="*/ 68580 w 1981200"/>
                  <a:gd name="connsiteY0" fmla="*/ 830580 h 838200"/>
                  <a:gd name="connsiteX1" fmla="*/ 304800 w 1981200"/>
                  <a:gd name="connsiteY1" fmla="*/ 769620 h 838200"/>
                  <a:gd name="connsiteX2" fmla="*/ 449580 w 1981200"/>
                  <a:gd name="connsiteY2" fmla="*/ 678180 h 838200"/>
                  <a:gd name="connsiteX3" fmla="*/ 518160 w 1981200"/>
                  <a:gd name="connsiteY3" fmla="*/ 754380 h 838200"/>
                  <a:gd name="connsiteX4" fmla="*/ 609600 w 1981200"/>
                  <a:gd name="connsiteY4" fmla="*/ 693420 h 838200"/>
                  <a:gd name="connsiteX5" fmla="*/ 708660 w 1981200"/>
                  <a:gd name="connsiteY5" fmla="*/ 708660 h 838200"/>
                  <a:gd name="connsiteX6" fmla="*/ 723900 w 1981200"/>
                  <a:gd name="connsiteY6" fmla="*/ 655320 h 838200"/>
                  <a:gd name="connsiteX7" fmla="*/ 708660 w 1981200"/>
                  <a:gd name="connsiteY7" fmla="*/ 586740 h 838200"/>
                  <a:gd name="connsiteX8" fmla="*/ 754380 w 1981200"/>
                  <a:gd name="connsiteY8" fmla="*/ 525780 h 838200"/>
                  <a:gd name="connsiteX9" fmla="*/ 929640 w 1981200"/>
                  <a:gd name="connsiteY9" fmla="*/ 563880 h 838200"/>
                  <a:gd name="connsiteX10" fmla="*/ 998220 w 1981200"/>
                  <a:gd name="connsiteY10" fmla="*/ 495300 h 838200"/>
                  <a:gd name="connsiteX11" fmla="*/ 1280160 w 1981200"/>
                  <a:gd name="connsiteY11" fmla="*/ 541020 h 838200"/>
                  <a:gd name="connsiteX12" fmla="*/ 1379220 w 1981200"/>
                  <a:gd name="connsiteY12" fmla="*/ 731520 h 838200"/>
                  <a:gd name="connsiteX13" fmla="*/ 1463040 w 1981200"/>
                  <a:gd name="connsiteY13" fmla="*/ 655320 h 838200"/>
                  <a:gd name="connsiteX14" fmla="*/ 1798320 w 1981200"/>
                  <a:gd name="connsiteY14" fmla="*/ 838200 h 838200"/>
                  <a:gd name="connsiteX15" fmla="*/ 1767840 w 1981200"/>
                  <a:gd name="connsiteY15" fmla="*/ 739140 h 838200"/>
                  <a:gd name="connsiteX16" fmla="*/ 1805940 w 1981200"/>
                  <a:gd name="connsiteY16" fmla="*/ 708660 h 838200"/>
                  <a:gd name="connsiteX17" fmla="*/ 1920240 w 1981200"/>
                  <a:gd name="connsiteY17" fmla="*/ 739140 h 838200"/>
                  <a:gd name="connsiteX18" fmla="*/ 1981200 w 1981200"/>
                  <a:gd name="connsiteY18" fmla="*/ 670560 h 838200"/>
                  <a:gd name="connsiteX19" fmla="*/ 1866900 w 1981200"/>
                  <a:gd name="connsiteY19" fmla="*/ 556260 h 838200"/>
                  <a:gd name="connsiteX20" fmla="*/ 1767840 w 1981200"/>
                  <a:gd name="connsiteY20" fmla="*/ 525780 h 838200"/>
                  <a:gd name="connsiteX21" fmla="*/ 1775460 w 1981200"/>
                  <a:gd name="connsiteY21" fmla="*/ 434340 h 838200"/>
                  <a:gd name="connsiteX22" fmla="*/ 1684020 w 1981200"/>
                  <a:gd name="connsiteY22" fmla="*/ 335280 h 838200"/>
                  <a:gd name="connsiteX23" fmla="*/ 1554480 w 1981200"/>
                  <a:gd name="connsiteY23" fmla="*/ 320040 h 838200"/>
                  <a:gd name="connsiteX24" fmla="*/ 1447800 w 1981200"/>
                  <a:gd name="connsiteY24" fmla="*/ 434340 h 838200"/>
                  <a:gd name="connsiteX25" fmla="*/ 1341120 w 1981200"/>
                  <a:gd name="connsiteY25" fmla="*/ 441960 h 838200"/>
                  <a:gd name="connsiteX26" fmla="*/ 1211580 w 1981200"/>
                  <a:gd name="connsiteY26" fmla="*/ 342900 h 838200"/>
                  <a:gd name="connsiteX27" fmla="*/ 1158240 w 1981200"/>
                  <a:gd name="connsiteY27" fmla="*/ 388620 h 838200"/>
                  <a:gd name="connsiteX28" fmla="*/ 1112520 w 1981200"/>
                  <a:gd name="connsiteY28" fmla="*/ 426720 h 838200"/>
                  <a:gd name="connsiteX29" fmla="*/ 1021080 w 1981200"/>
                  <a:gd name="connsiteY29" fmla="*/ 381000 h 838200"/>
                  <a:gd name="connsiteX30" fmla="*/ 899160 w 1981200"/>
                  <a:gd name="connsiteY30" fmla="*/ 373380 h 838200"/>
                  <a:gd name="connsiteX31" fmla="*/ 769620 w 1981200"/>
                  <a:gd name="connsiteY31" fmla="*/ 182880 h 838200"/>
                  <a:gd name="connsiteX32" fmla="*/ 640080 w 1981200"/>
                  <a:gd name="connsiteY32" fmla="*/ 175260 h 838200"/>
                  <a:gd name="connsiteX33" fmla="*/ 480060 w 1981200"/>
                  <a:gd name="connsiteY33" fmla="*/ 0 h 838200"/>
                  <a:gd name="connsiteX34" fmla="*/ 419100 w 1981200"/>
                  <a:gd name="connsiteY34" fmla="*/ 0 h 838200"/>
                  <a:gd name="connsiteX35" fmla="*/ 190500 w 1981200"/>
                  <a:gd name="connsiteY35" fmla="*/ 53340 h 838200"/>
                  <a:gd name="connsiteX36" fmla="*/ 83820 w 1981200"/>
                  <a:gd name="connsiteY36" fmla="*/ 381000 h 838200"/>
                  <a:gd name="connsiteX37" fmla="*/ 91440 w 1981200"/>
                  <a:gd name="connsiteY37" fmla="*/ 464820 h 838200"/>
                  <a:gd name="connsiteX38" fmla="*/ 45720 w 1981200"/>
                  <a:gd name="connsiteY38" fmla="*/ 601980 h 838200"/>
                  <a:gd name="connsiteX39" fmla="*/ 0 w 1981200"/>
                  <a:gd name="connsiteY39" fmla="*/ 685800 h 838200"/>
                  <a:gd name="connsiteX40" fmla="*/ 7620 w 1981200"/>
                  <a:gd name="connsiteY40" fmla="*/ 777240 h 838200"/>
                  <a:gd name="connsiteX41" fmla="*/ 114300 w 1981200"/>
                  <a:gd name="connsiteY41" fmla="*/ 777240 h 838200"/>
                  <a:gd name="connsiteX42" fmla="*/ 68580 w 1981200"/>
                  <a:gd name="connsiteY42" fmla="*/ 830580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981200" h="838200">
                    <a:moveTo>
                      <a:pt x="68580" y="830580"/>
                    </a:moveTo>
                    <a:lnTo>
                      <a:pt x="304800" y="769620"/>
                    </a:lnTo>
                    <a:lnTo>
                      <a:pt x="449580" y="678180"/>
                    </a:lnTo>
                    <a:lnTo>
                      <a:pt x="518160" y="754380"/>
                    </a:lnTo>
                    <a:lnTo>
                      <a:pt x="609600" y="693420"/>
                    </a:lnTo>
                    <a:lnTo>
                      <a:pt x="708660" y="708660"/>
                    </a:lnTo>
                    <a:lnTo>
                      <a:pt x="723900" y="655320"/>
                    </a:lnTo>
                    <a:lnTo>
                      <a:pt x="708660" y="586740"/>
                    </a:lnTo>
                    <a:lnTo>
                      <a:pt x="754380" y="525780"/>
                    </a:lnTo>
                    <a:lnTo>
                      <a:pt x="929640" y="563880"/>
                    </a:lnTo>
                    <a:lnTo>
                      <a:pt x="998220" y="495300"/>
                    </a:lnTo>
                    <a:lnTo>
                      <a:pt x="1280160" y="541020"/>
                    </a:lnTo>
                    <a:lnTo>
                      <a:pt x="1379220" y="731520"/>
                    </a:lnTo>
                    <a:lnTo>
                      <a:pt x="1463040" y="655320"/>
                    </a:lnTo>
                    <a:lnTo>
                      <a:pt x="1798320" y="838200"/>
                    </a:lnTo>
                    <a:lnTo>
                      <a:pt x="1767840" y="739140"/>
                    </a:lnTo>
                    <a:lnTo>
                      <a:pt x="1805940" y="708660"/>
                    </a:lnTo>
                    <a:lnTo>
                      <a:pt x="1920240" y="739140"/>
                    </a:lnTo>
                    <a:lnTo>
                      <a:pt x="1981200" y="670560"/>
                    </a:lnTo>
                    <a:lnTo>
                      <a:pt x="1866900" y="556260"/>
                    </a:lnTo>
                    <a:lnTo>
                      <a:pt x="1767840" y="525780"/>
                    </a:lnTo>
                    <a:lnTo>
                      <a:pt x="1775460" y="434340"/>
                    </a:lnTo>
                    <a:lnTo>
                      <a:pt x="1684020" y="335280"/>
                    </a:lnTo>
                    <a:lnTo>
                      <a:pt x="1554480" y="320040"/>
                    </a:lnTo>
                    <a:lnTo>
                      <a:pt x="1447800" y="434340"/>
                    </a:lnTo>
                    <a:lnTo>
                      <a:pt x="1341120" y="441960"/>
                    </a:lnTo>
                    <a:lnTo>
                      <a:pt x="1211580" y="342900"/>
                    </a:lnTo>
                    <a:lnTo>
                      <a:pt x="1158240" y="388620"/>
                    </a:lnTo>
                    <a:lnTo>
                      <a:pt x="1112520" y="426720"/>
                    </a:lnTo>
                    <a:lnTo>
                      <a:pt x="1021080" y="381000"/>
                    </a:lnTo>
                    <a:lnTo>
                      <a:pt x="899160" y="373380"/>
                    </a:lnTo>
                    <a:lnTo>
                      <a:pt x="769620" y="182880"/>
                    </a:lnTo>
                    <a:lnTo>
                      <a:pt x="640080" y="175260"/>
                    </a:lnTo>
                    <a:lnTo>
                      <a:pt x="480060" y="0"/>
                    </a:lnTo>
                    <a:lnTo>
                      <a:pt x="419100" y="0"/>
                    </a:lnTo>
                    <a:lnTo>
                      <a:pt x="190500" y="53340"/>
                    </a:lnTo>
                    <a:lnTo>
                      <a:pt x="83820" y="381000"/>
                    </a:lnTo>
                    <a:lnTo>
                      <a:pt x="91440" y="464820"/>
                    </a:lnTo>
                    <a:lnTo>
                      <a:pt x="45720" y="601980"/>
                    </a:lnTo>
                    <a:lnTo>
                      <a:pt x="0" y="685800"/>
                    </a:lnTo>
                    <a:lnTo>
                      <a:pt x="7620" y="777240"/>
                    </a:lnTo>
                    <a:lnTo>
                      <a:pt x="114300" y="777240"/>
                    </a:lnTo>
                    <a:lnTo>
                      <a:pt x="68580" y="83058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8" name="Freeform 207"/>
              <p:cNvSpPr/>
              <p:nvPr/>
            </p:nvSpPr>
            <p:spPr>
              <a:xfrm>
                <a:off x="3686579" y="2926538"/>
                <a:ext cx="493336" cy="518498"/>
              </a:xfrm>
              <a:custGeom>
                <a:avLst/>
                <a:gdLst>
                  <a:gd name="connsiteX0" fmla="*/ 647700 w 838200"/>
                  <a:gd name="connsiteY0" fmla="*/ 815340 h 883920"/>
                  <a:gd name="connsiteX1" fmla="*/ 693420 w 838200"/>
                  <a:gd name="connsiteY1" fmla="*/ 769620 h 883920"/>
                  <a:gd name="connsiteX2" fmla="*/ 662940 w 838200"/>
                  <a:gd name="connsiteY2" fmla="*/ 678180 h 883920"/>
                  <a:gd name="connsiteX3" fmla="*/ 685800 w 838200"/>
                  <a:gd name="connsiteY3" fmla="*/ 655320 h 883920"/>
                  <a:gd name="connsiteX4" fmla="*/ 708660 w 838200"/>
                  <a:gd name="connsiteY4" fmla="*/ 533400 h 883920"/>
                  <a:gd name="connsiteX5" fmla="*/ 792480 w 838200"/>
                  <a:gd name="connsiteY5" fmla="*/ 480060 h 883920"/>
                  <a:gd name="connsiteX6" fmla="*/ 815340 w 838200"/>
                  <a:gd name="connsiteY6" fmla="*/ 441960 h 883920"/>
                  <a:gd name="connsiteX7" fmla="*/ 800100 w 838200"/>
                  <a:gd name="connsiteY7" fmla="*/ 350520 h 883920"/>
                  <a:gd name="connsiteX8" fmla="*/ 777240 w 838200"/>
                  <a:gd name="connsiteY8" fmla="*/ 274320 h 883920"/>
                  <a:gd name="connsiteX9" fmla="*/ 838200 w 838200"/>
                  <a:gd name="connsiteY9" fmla="*/ 175260 h 883920"/>
                  <a:gd name="connsiteX10" fmla="*/ 647700 w 838200"/>
                  <a:gd name="connsiteY10" fmla="*/ 190500 h 883920"/>
                  <a:gd name="connsiteX11" fmla="*/ 495300 w 838200"/>
                  <a:gd name="connsiteY11" fmla="*/ 121920 h 883920"/>
                  <a:gd name="connsiteX12" fmla="*/ 350520 w 838200"/>
                  <a:gd name="connsiteY12" fmla="*/ 114300 h 883920"/>
                  <a:gd name="connsiteX13" fmla="*/ 312420 w 838200"/>
                  <a:gd name="connsiteY13" fmla="*/ 22860 h 883920"/>
                  <a:gd name="connsiteX14" fmla="*/ 213360 w 838200"/>
                  <a:gd name="connsiteY14" fmla="*/ 38100 h 883920"/>
                  <a:gd name="connsiteX15" fmla="*/ 205740 w 838200"/>
                  <a:gd name="connsiteY15" fmla="*/ 0 h 883920"/>
                  <a:gd name="connsiteX16" fmla="*/ 0 w 838200"/>
                  <a:gd name="connsiteY16" fmla="*/ 22860 h 883920"/>
                  <a:gd name="connsiteX17" fmla="*/ 106680 w 838200"/>
                  <a:gd name="connsiteY17" fmla="*/ 251460 h 883920"/>
                  <a:gd name="connsiteX18" fmla="*/ 175260 w 838200"/>
                  <a:gd name="connsiteY18" fmla="*/ 579120 h 883920"/>
                  <a:gd name="connsiteX19" fmla="*/ 198120 w 838200"/>
                  <a:gd name="connsiteY19" fmla="*/ 662940 h 883920"/>
                  <a:gd name="connsiteX20" fmla="*/ 304800 w 838200"/>
                  <a:gd name="connsiteY20" fmla="*/ 845820 h 883920"/>
                  <a:gd name="connsiteX21" fmla="*/ 472440 w 838200"/>
                  <a:gd name="connsiteY21" fmla="*/ 868680 h 883920"/>
                  <a:gd name="connsiteX22" fmla="*/ 533400 w 838200"/>
                  <a:gd name="connsiteY22" fmla="*/ 883920 h 883920"/>
                  <a:gd name="connsiteX23" fmla="*/ 647700 w 838200"/>
                  <a:gd name="connsiteY23" fmla="*/ 815340 h 883920"/>
                  <a:gd name="connsiteX0" fmla="*/ 647700 w 845820"/>
                  <a:gd name="connsiteY0" fmla="*/ 815340 h 883920"/>
                  <a:gd name="connsiteX1" fmla="*/ 693420 w 845820"/>
                  <a:gd name="connsiteY1" fmla="*/ 769620 h 883920"/>
                  <a:gd name="connsiteX2" fmla="*/ 662940 w 845820"/>
                  <a:gd name="connsiteY2" fmla="*/ 678180 h 883920"/>
                  <a:gd name="connsiteX3" fmla="*/ 685800 w 845820"/>
                  <a:gd name="connsiteY3" fmla="*/ 655320 h 883920"/>
                  <a:gd name="connsiteX4" fmla="*/ 708660 w 845820"/>
                  <a:gd name="connsiteY4" fmla="*/ 533400 h 883920"/>
                  <a:gd name="connsiteX5" fmla="*/ 792480 w 845820"/>
                  <a:gd name="connsiteY5" fmla="*/ 480060 h 883920"/>
                  <a:gd name="connsiteX6" fmla="*/ 815340 w 845820"/>
                  <a:gd name="connsiteY6" fmla="*/ 441960 h 883920"/>
                  <a:gd name="connsiteX7" fmla="*/ 800100 w 845820"/>
                  <a:gd name="connsiteY7" fmla="*/ 350520 h 883920"/>
                  <a:gd name="connsiteX8" fmla="*/ 777240 w 845820"/>
                  <a:gd name="connsiteY8" fmla="*/ 274320 h 883920"/>
                  <a:gd name="connsiteX9" fmla="*/ 845820 w 845820"/>
                  <a:gd name="connsiteY9" fmla="*/ 152400 h 883920"/>
                  <a:gd name="connsiteX10" fmla="*/ 647700 w 845820"/>
                  <a:gd name="connsiteY10" fmla="*/ 190500 h 883920"/>
                  <a:gd name="connsiteX11" fmla="*/ 495300 w 845820"/>
                  <a:gd name="connsiteY11" fmla="*/ 121920 h 883920"/>
                  <a:gd name="connsiteX12" fmla="*/ 350520 w 845820"/>
                  <a:gd name="connsiteY12" fmla="*/ 114300 h 883920"/>
                  <a:gd name="connsiteX13" fmla="*/ 312420 w 845820"/>
                  <a:gd name="connsiteY13" fmla="*/ 22860 h 883920"/>
                  <a:gd name="connsiteX14" fmla="*/ 213360 w 845820"/>
                  <a:gd name="connsiteY14" fmla="*/ 38100 h 883920"/>
                  <a:gd name="connsiteX15" fmla="*/ 205740 w 845820"/>
                  <a:gd name="connsiteY15" fmla="*/ 0 h 883920"/>
                  <a:gd name="connsiteX16" fmla="*/ 0 w 845820"/>
                  <a:gd name="connsiteY16" fmla="*/ 22860 h 883920"/>
                  <a:gd name="connsiteX17" fmla="*/ 106680 w 845820"/>
                  <a:gd name="connsiteY17" fmla="*/ 251460 h 883920"/>
                  <a:gd name="connsiteX18" fmla="*/ 175260 w 845820"/>
                  <a:gd name="connsiteY18" fmla="*/ 579120 h 883920"/>
                  <a:gd name="connsiteX19" fmla="*/ 198120 w 845820"/>
                  <a:gd name="connsiteY19" fmla="*/ 662940 h 883920"/>
                  <a:gd name="connsiteX20" fmla="*/ 304800 w 845820"/>
                  <a:gd name="connsiteY20" fmla="*/ 845820 h 883920"/>
                  <a:gd name="connsiteX21" fmla="*/ 472440 w 845820"/>
                  <a:gd name="connsiteY21" fmla="*/ 868680 h 883920"/>
                  <a:gd name="connsiteX22" fmla="*/ 533400 w 845820"/>
                  <a:gd name="connsiteY22" fmla="*/ 883920 h 883920"/>
                  <a:gd name="connsiteX23" fmla="*/ 647700 w 845820"/>
                  <a:gd name="connsiteY23" fmla="*/ 815340 h 883920"/>
                  <a:gd name="connsiteX0" fmla="*/ 669925 w 868045"/>
                  <a:gd name="connsiteY0" fmla="*/ 815340 h 883920"/>
                  <a:gd name="connsiteX1" fmla="*/ 715645 w 868045"/>
                  <a:gd name="connsiteY1" fmla="*/ 769620 h 883920"/>
                  <a:gd name="connsiteX2" fmla="*/ 685165 w 868045"/>
                  <a:gd name="connsiteY2" fmla="*/ 678180 h 883920"/>
                  <a:gd name="connsiteX3" fmla="*/ 708025 w 868045"/>
                  <a:gd name="connsiteY3" fmla="*/ 655320 h 883920"/>
                  <a:gd name="connsiteX4" fmla="*/ 730885 w 868045"/>
                  <a:gd name="connsiteY4" fmla="*/ 533400 h 883920"/>
                  <a:gd name="connsiteX5" fmla="*/ 814705 w 868045"/>
                  <a:gd name="connsiteY5" fmla="*/ 480060 h 883920"/>
                  <a:gd name="connsiteX6" fmla="*/ 837565 w 868045"/>
                  <a:gd name="connsiteY6" fmla="*/ 441960 h 883920"/>
                  <a:gd name="connsiteX7" fmla="*/ 822325 w 868045"/>
                  <a:gd name="connsiteY7" fmla="*/ 350520 h 883920"/>
                  <a:gd name="connsiteX8" fmla="*/ 799465 w 868045"/>
                  <a:gd name="connsiteY8" fmla="*/ 274320 h 883920"/>
                  <a:gd name="connsiteX9" fmla="*/ 868045 w 868045"/>
                  <a:gd name="connsiteY9" fmla="*/ 152400 h 883920"/>
                  <a:gd name="connsiteX10" fmla="*/ 669925 w 868045"/>
                  <a:gd name="connsiteY10" fmla="*/ 190500 h 883920"/>
                  <a:gd name="connsiteX11" fmla="*/ 517525 w 868045"/>
                  <a:gd name="connsiteY11" fmla="*/ 121920 h 883920"/>
                  <a:gd name="connsiteX12" fmla="*/ 372745 w 868045"/>
                  <a:gd name="connsiteY12" fmla="*/ 114300 h 883920"/>
                  <a:gd name="connsiteX13" fmla="*/ 334645 w 868045"/>
                  <a:gd name="connsiteY13" fmla="*/ 22860 h 883920"/>
                  <a:gd name="connsiteX14" fmla="*/ 235585 w 868045"/>
                  <a:gd name="connsiteY14" fmla="*/ 38100 h 883920"/>
                  <a:gd name="connsiteX15" fmla="*/ 227965 w 868045"/>
                  <a:gd name="connsiteY15" fmla="*/ 0 h 883920"/>
                  <a:gd name="connsiteX16" fmla="*/ 0 w 868045"/>
                  <a:gd name="connsiteY16" fmla="*/ 32385 h 883920"/>
                  <a:gd name="connsiteX17" fmla="*/ 128905 w 868045"/>
                  <a:gd name="connsiteY17" fmla="*/ 251460 h 883920"/>
                  <a:gd name="connsiteX18" fmla="*/ 197485 w 868045"/>
                  <a:gd name="connsiteY18" fmla="*/ 579120 h 883920"/>
                  <a:gd name="connsiteX19" fmla="*/ 220345 w 868045"/>
                  <a:gd name="connsiteY19" fmla="*/ 662940 h 883920"/>
                  <a:gd name="connsiteX20" fmla="*/ 327025 w 868045"/>
                  <a:gd name="connsiteY20" fmla="*/ 845820 h 883920"/>
                  <a:gd name="connsiteX21" fmla="*/ 494665 w 868045"/>
                  <a:gd name="connsiteY21" fmla="*/ 868680 h 883920"/>
                  <a:gd name="connsiteX22" fmla="*/ 555625 w 868045"/>
                  <a:gd name="connsiteY22" fmla="*/ 883920 h 883920"/>
                  <a:gd name="connsiteX23" fmla="*/ 669925 w 868045"/>
                  <a:gd name="connsiteY23" fmla="*/ 815340 h 883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868045" h="883920">
                    <a:moveTo>
                      <a:pt x="669925" y="815340"/>
                    </a:moveTo>
                    <a:lnTo>
                      <a:pt x="715645" y="769620"/>
                    </a:lnTo>
                    <a:lnTo>
                      <a:pt x="685165" y="678180"/>
                    </a:lnTo>
                    <a:lnTo>
                      <a:pt x="708025" y="655320"/>
                    </a:lnTo>
                    <a:lnTo>
                      <a:pt x="730885" y="533400"/>
                    </a:lnTo>
                    <a:lnTo>
                      <a:pt x="814705" y="480060"/>
                    </a:lnTo>
                    <a:lnTo>
                      <a:pt x="837565" y="441960"/>
                    </a:lnTo>
                    <a:lnTo>
                      <a:pt x="822325" y="350520"/>
                    </a:lnTo>
                    <a:lnTo>
                      <a:pt x="799465" y="274320"/>
                    </a:lnTo>
                    <a:lnTo>
                      <a:pt x="868045" y="152400"/>
                    </a:lnTo>
                    <a:lnTo>
                      <a:pt x="669925" y="190500"/>
                    </a:lnTo>
                    <a:lnTo>
                      <a:pt x="517525" y="121920"/>
                    </a:lnTo>
                    <a:lnTo>
                      <a:pt x="372745" y="114300"/>
                    </a:lnTo>
                    <a:lnTo>
                      <a:pt x="334645" y="22860"/>
                    </a:lnTo>
                    <a:lnTo>
                      <a:pt x="235585" y="38100"/>
                    </a:lnTo>
                    <a:lnTo>
                      <a:pt x="227965" y="0"/>
                    </a:lnTo>
                    <a:lnTo>
                      <a:pt x="0" y="32385"/>
                    </a:lnTo>
                    <a:lnTo>
                      <a:pt x="128905" y="251460"/>
                    </a:lnTo>
                    <a:lnTo>
                      <a:pt x="197485" y="579120"/>
                    </a:lnTo>
                    <a:lnTo>
                      <a:pt x="220345" y="662940"/>
                    </a:lnTo>
                    <a:lnTo>
                      <a:pt x="327025" y="845820"/>
                    </a:lnTo>
                    <a:lnTo>
                      <a:pt x="494665" y="868680"/>
                    </a:lnTo>
                    <a:lnTo>
                      <a:pt x="555625" y="883920"/>
                    </a:lnTo>
                    <a:lnTo>
                      <a:pt x="669925" y="81534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09" name="Freeform 208"/>
              <p:cNvSpPr/>
              <p:nvPr/>
            </p:nvSpPr>
            <p:spPr>
              <a:xfrm>
                <a:off x="4069484" y="2903445"/>
                <a:ext cx="734411" cy="562452"/>
              </a:xfrm>
              <a:custGeom>
                <a:avLst/>
                <a:gdLst>
                  <a:gd name="connsiteX0" fmla="*/ 336550 w 1292225"/>
                  <a:gd name="connsiteY0" fmla="*/ 825500 h 958850"/>
                  <a:gd name="connsiteX1" fmla="*/ 488950 w 1292225"/>
                  <a:gd name="connsiteY1" fmla="*/ 784225 h 958850"/>
                  <a:gd name="connsiteX2" fmla="*/ 485775 w 1292225"/>
                  <a:gd name="connsiteY2" fmla="*/ 717550 h 958850"/>
                  <a:gd name="connsiteX3" fmla="*/ 479425 w 1292225"/>
                  <a:gd name="connsiteY3" fmla="*/ 676275 h 958850"/>
                  <a:gd name="connsiteX4" fmla="*/ 546100 w 1292225"/>
                  <a:gd name="connsiteY4" fmla="*/ 650875 h 958850"/>
                  <a:gd name="connsiteX5" fmla="*/ 631825 w 1292225"/>
                  <a:gd name="connsiteY5" fmla="*/ 673100 h 958850"/>
                  <a:gd name="connsiteX6" fmla="*/ 695325 w 1292225"/>
                  <a:gd name="connsiteY6" fmla="*/ 742950 h 958850"/>
                  <a:gd name="connsiteX7" fmla="*/ 733425 w 1292225"/>
                  <a:gd name="connsiteY7" fmla="*/ 708025 h 958850"/>
                  <a:gd name="connsiteX8" fmla="*/ 730250 w 1292225"/>
                  <a:gd name="connsiteY8" fmla="*/ 561975 h 958850"/>
                  <a:gd name="connsiteX9" fmla="*/ 908050 w 1292225"/>
                  <a:gd name="connsiteY9" fmla="*/ 546100 h 958850"/>
                  <a:gd name="connsiteX10" fmla="*/ 825500 w 1292225"/>
                  <a:gd name="connsiteY10" fmla="*/ 492125 h 958850"/>
                  <a:gd name="connsiteX11" fmla="*/ 844550 w 1292225"/>
                  <a:gd name="connsiteY11" fmla="*/ 473075 h 958850"/>
                  <a:gd name="connsiteX12" fmla="*/ 968375 w 1292225"/>
                  <a:gd name="connsiteY12" fmla="*/ 520700 h 958850"/>
                  <a:gd name="connsiteX13" fmla="*/ 936625 w 1292225"/>
                  <a:gd name="connsiteY13" fmla="*/ 584200 h 958850"/>
                  <a:gd name="connsiteX14" fmla="*/ 1006475 w 1292225"/>
                  <a:gd name="connsiteY14" fmla="*/ 666750 h 958850"/>
                  <a:gd name="connsiteX15" fmla="*/ 1162050 w 1292225"/>
                  <a:gd name="connsiteY15" fmla="*/ 701675 h 958850"/>
                  <a:gd name="connsiteX16" fmla="*/ 1292225 w 1292225"/>
                  <a:gd name="connsiteY16" fmla="*/ 587375 h 958850"/>
                  <a:gd name="connsiteX17" fmla="*/ 1143000 w 1292225"/>
                  <a:gd name="connsiteY17" fmla="*/ 558800 h 958850"/>
                  <a:gd name="connsiteX18" fmla="*/ 1054100 w 1292225"/>
                  <a:gd name="connsiteY18" fmla="*/ 479425 h 958850"/>
                  <a:gd name="connsiteX19" fmla="*/ 1060450 w 1292225"/>
                  <a:gd name="connsiteY19" fmla="*/ 403225 h 958850"/>
                  <a:gd name="connsiteX20" fmla="*/ 1025525 w 1292225"/>
                  <a:gd name="connsiteY20" fmla="*/ 301625 h 958850"/>
                  <a:gd name="connsiteX21" fmla="*/ 895350 w 1292225"/>
                  <a:gd name="connsiteY21" fmla="*/ 336550 h 958850"/>
                  <a:gd name="connsiteX22" fmla="*/ 777875 w 1292225"/>
                  <a:gd name="connsiteY22" fmla="*/ 219075 h 958850"/>
                  <a:gd name="connsiteX23" fmla="*/ 542925 w 1292225"/>
                  <a:gd name="connsiteY23" fmla="*/ 146050 h 958850"/>
                  <a:gd name="connsiteX24" fmla="*/ 488950 w 1292225"/>
                  <a:gd name="connsiteY24" fmla="*/ 82550 h 958850"/>
                  <a:gd name="connsiteX25" fmla="*/ 349250 w 1292225"/>
                  <a:gd name="connsiteY25" fmla="*/ 82550 h 958850"/>
                  <a:gd name="connsiteX26" fmla="*/ 292100 w 1292225"/>
                  <a:gd name="connsiteY26" fmla="*/ 0 h 958850"/>
                  <a:gd name="connsiteX27" fmla="*/ 158750 w 1292225"/>
                  <a:gd name="connsiteY27" fmla="*/ 120650 h 958850"/>
                  <a:gd name="connsiteX28" fmla="*/ 177800 w 1292225"/>
                  <a:gd name="connsiteY28" fmla="*/ 177800 h 958850"/>
                  <a:gd name="connsiteX29" fmla="*/ 196850 w 1292225"/>
                  <a:gd name="connsiteY29" fmla="*/ 209550 h 958850"/>
                  <a:gd name="connsiteX30" fmla="*/ 123825 w 1292225"/>
                  <a:gd name="connsiteY30" fmla="*/ 311150 h 958850"/>
                  <a:gd name="connsiteX31" fmla="*/ 165100 w 1292225"/>
                  <a:gd name="connsiteY31" fmla="*/ 476250 h 958850"/>
                  <a:gd name="connsiteX32" fmla="*/ 142875 w 1292225"/>
                  <a:gd name="connsiteY32" fmla="*/ 514350 h 958850"/>
                  <a:gd name="connsiteX33" fmla="*/ 53975 w 1292225"/>
                  <a:gd name="connsiteY33" fmla="*/ 581025 h 958850"/>
                  <a:gd name="connsiteX34" fmla="*/ 31750 w 1292225"/>
                  <a:gd name="connsiteY34" fmla="*/ 682625 h 958850"/>
                  <a:gd name="connsiteX35" fmla="*/ 9525 w 1292225"/>
                  <a:gd name="connsiteY35" fmla="*/ 711200 h 958850"/>
                  <a:gd name="connsiteX36" fmla="*/ 41275 w 1292225"/>
                  <a:gd name="connsiteY36" fmla="*/ 812800 h 958850"/>
                  <a:gd name="connsiteX37" fmla="*/ 0 w 1292225"/>
                  <a:gd name="connsiteY37" fmla="*/ 857250 h 958850"/>
                  <a:gd name="connsiteX38" fmla="*/ 117475 w 1292225"/>
                  <a:gd name="connsiteY38" fmla="*/ 958850 h 958850"/>
                  <a:gd name="connsiteX39" fmla="*/ 222250 w 1292225"/>
                  <a:gd name="connsiteY39" fmla="*/ 949325 h 958850"/>
                  <a:gd name="connsiteX40" fmla="*/ 336550 w 1292225"/>
                  <a:gd name="connsiteY40" fmla="*/ 825500 h 958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292225" h="958850">
                    <a:moveTo>
                      <a:pt x="336550" y="825500"/>
                    </a:moveTo>
                    <a:lnTo>
                      <a:pt x="488950" y="784225"/>
                    </a:lnTo>
                    <a:lnTo>
                      <a:pt x="485775" y="717550"/>
                    </a:lnTo>
                    <a:lnTo>
                      <a:pt x="479425" y="676275"/>
                    </a:lnTo>
                    <a:lnTo>
                      <a:pt x="546100" y="650875"/>
                    </a:lnTo>
                    <a:lnTo>
                      <a:pt x="631825" y="673100"/>
                    </a:lnTo>
                    <a:lnTo>
                      <a:pt x="695325" y="742950"/>
                    </a:lnTo>
                    <a:lnTo>
                      <a:pt x="733425" y="708025"/>
                    </a:lnTo>
                    <a:cubicBezTo>
                      <a:pt x="732367" y="659342"/>
                      <a:pt x="731308" y="610658"/>
                      <a:pt x="730250" y="561975"/>
                    </a:cubicBezTo>
                    <a:lnTo>
                      <a:pt x="908050" y="546100"/>
                    </a:lnTo>
                    <a:lnTo>
                      <a:pt x="825500" y="492125"/>
                    </a:lnTo>
                    <a:lnTo>
                      <a:pt x="844550" y="473075"/>
                    </a:lnTo>
                    <a:lnTo>
                      <a:pt x="968375" y="520700"/>
                    </a:lnTo>
                    <a:lnTo>
                      <a:pt x="936625" y="584200"/>
                    </a:lnTo>
                    <a:lnTo>
                      <a:pt x="1006475" y="666750"/>
                    </a:lnTo>
                    <a:lnTo>
                      <a:pt x="1162050" y="701675"/>
                    </a:lnTo>
                    <a:lnTo>
                      <a:pt x="1292225" y="587375"/>
                    </a:lnTo>
                    <a:lnTo>
                      <a:pt x="1143000" y="558800"/>
                    </a:lnTo>
                    <a:lnTo>
                      <a:pt x="1054100" y="479425"/>
                    </a:lnTo>
                    <a:lnTo>
                      <a:pt x="1060450" y="403225"/>
                    </a:lnTo>
                    <a:lnTo>
                      <a:pt x="1025525" y="301625"/>
                    </a:lnTo>
                    <a:lnTo>
                      <a:pt x="895350" y="336550"/>
                    </a:lnTo>
                    <a:lnTo>
                      <a:pt x="777875" y="219075"/>
                    </a:lnTo>
                    <a:lnTo>
                      <a:pt x="542925" y="146050"/>
                    </a:lnTo>
                    <a:lnTo>
                      <a:pt x="488950" y="82550"/>
                    </a:lnTo>
                    <a:lnTo>
                      <a:pt x="349250" y="82550"/>
                    </a:lnTo>
                    <a:lnTo>
                      <a:pt x="292100" y="0"/>
                    </a:lnTo>
                    <a:lnTo>
                      <a:pt x="158750" y="120650"/>
                    </a:lnTo>
                    <a:lnTo>
                      <a:pt x="177800" y="177800"/>
                    </a:lnTo>
                    <a:lnTo>
                      <a:pt x="196850" y="209550"/>
                    </a:lnTo>
                    <a:lnTo>
                      <a:pt x="123825" y="311150"/>
                    </a:lnTo>
                    <a:lnTo>
                      <a:pt x="165100" y="476250"/>
                    </a:lnTo>
                    <a:lnTo>
                      <a:pt x="142875" y="514350"/>
                    </a:lnTo>
                    <a:lnTo>
                      <a:pt x="53975" y="581025"/>
                    </a:lnTo>
                    <a:lnTo>
                      <a:pt x="31750" y="682625"/>
                    </a:lnTo>
                    <a:lnTo>
                      <a:pt x="9525" y="711200"/>
                    </a:lnTo>
                    <a:lnTo>
                      <a:pt x="41275" y="812800"/>
                    </a:lnTo>
                    <a:lnTo>
                      <a:pt x="0" y="857250"/>
                    </a:lnTo>
                    <a:lnTo>
                      <a:pt x="117475" y="958850"/>
                    </a:lnTo>
                    <a:lnTo>
                      <a:pt x="222250" y="949325"/>
                    </a:lnTo>
                    <a:lnTo>
                      <a:pt x="336550" y="8255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0" name="Freeform 209"/>
              <p:cNvSpPr/>
              <p:nvPr/>
            </p:nvSpPr>
            <p:spPr>
              <a:xfrm>
                <a:off x="4269778" y="3179084"/>
                <a:ext cx="622535" cy="523341"/>
              </a:xfrm>
              <a:custGeom>
                <a:avLst/>
                <a:gdLst>
                  <a:gd name="connsiteX0" fmla="*/ 419100 w 1095375"/>
                  <a:gd name="connsiteY0" fmla="*/ 727075 h 892175"/>
                  <a:gd name="connsiteX1" fmla="*/ 561975 w 1095375"/>
                  <a:gd name="connsiteY1" fmla="*/ 863600 h 892175"/>
                  <a:gd name="connsiteX2" fmla="*/ 561975 w 1095375"/>
                  <a:gd name="connsiteY2" fmla="*/ 892175 h 892175"/>
                  <a:gd name="connsiteX3" fmla="*/ 669925 w 1095375"/>
                  <a:gd name="connsiteY3" fmla="*/ 885825 h 892175"/>
                  <a:gd name="connsiteX4" fmla="*/ 762000 w 1095375"/>
                  <a:gd name="connsiteY4" fmla="*/ 882650 h 892175"/>
                  <a:gd name="connsiteX5" fmla="*/ 876300 w 1095375"/>
                  <a:gd name="connsiteY5" fmla="*/ 765175 h 892175"/>
                  <a:gd name="connsiteX6" fmla="*/ 1095375 w 1095375"/>
                  <a:gd name="connsiteY6" fmla="*/ 644525 h 892175"/>
                  <a:gd name="connsiteX7" fmla="*/ 996950 w 1095375"/>
                  <a:gd name="connsiteY7" fmla="*/ 574675 h 892175"/>
                  <a:gd name="connsiteX8" fmla="*/ 968375 w 1095375"/>
                  <a:gd name="connsiteY8" fmla="*/ 498475 h 892175"/>
                  <a:gd name="connsiteX9" fmla="*/ 917575 w 1095375"/>
                  <a:gd name="connsiteY9" fmla="*/ 536575 h 892175"/>
                  <a:gd name="connsiteX10" fmla="*/ 879475 w 1095375"/>
                  <a:gd name="connsiteY10" fmla="*/ 511175 h 892175"/>
                  <a:gd name="connsiteX11" fmla="*/ 844550 w 1095375"/>
                  <a:gd name="connsiteY11" fmla="*/ 530225 h 892175"/>
                  <a:gd name="connsiteX12" fmla="*/ 825500 w 1095375"/>
                  <a:gd name="connsiteY12" fmla="*/ 457200 h 892175"/>
                  <a:gd name="connsiteX13" fmla="*/ 784225 w 1095375"/>
                  <a:gd name="connsiteY13" fmla="*/ 396875 h 892175"/>
                  <a:gd name="connsiteX14" fmla="*/ 793750 w 1095375"/>
                  <a:gd name="connsiteY14" fmla="*/ 238125 h 892175"/>
                  <a:gd name="connsiteX15" fmla="*/ 654050 w 1095375"/>
                  <a:gd name="connsiteY15" fmla="*/ 203200 h 892175"/>
                  <a:gd name="connsiteX16" fmla="*/ 581025 w 1095375"/>
                  <a:gd name="connsiteY16" fmla="*/ 107950 h 892175"/>
                  <a:gd name="connsiteX17" fmla="*/ 609600 w 1095375"/>
                  <a:gd name="connsiteY17" fmla="*/ 53975 h 892175"/>
                  <a:gd name="connsiteX18" fmla="*/ 495300 w 1095375"/>
                  <a:gd name="connsiteY18" fmla="*/ 0 h 892175"/>
                  <a:gd name="connsiteX19" fmla="*/ 552450 w 1095375"/>
                  <a:gd name="connsiteY19" fmla="*/ 73025 h 892175"/>
                  <a:gd name="connsiteX20" fmla="*/ 390525 w 1095375"/>
                  <a:gd name="connsiteY20" fmla="*/ 82550 h 892175"/>
                  <a:gd name="connsiteX21" fmla="*/ 387350 w 1095375"/>
                  <a:gd name="connsiteY21" fmla="*/ 231775 h 892175"/>
                  <a:gd name="connsiteX22" fmla="*/ 339725 w 1095375"/>
                  <a:gd name="connsiteY22" fmla="*/ 269875 h 892175"/>
                  <a:gd name="connsiteX23" fmla="*/ 292100 w 1095375"/>
                  <a:gd name="connsiteY23" fmla="*/ 212725 h 892175"/>
                  <a:gd name="connsiteX24" fmla="*/ 203200 w 1095375"/>
                  <a:gd name="connsiteY24" fmla="*/ 165100 h 892175"/>
                  <a:gd name="connsiteX25" fmla="*/ 136525 w 1095375"/>
                  <a:gd name="connsiteY25" fmla="*/ 200025 h 892175"/>
                  <a:gd name="connsiteX26" fmla="*/ 127000 w 1095375"/>
                  <a:gd name="connsiteY26" fmla="*/ 311150 h 892175"/>
                  <a:gd name="connsiteX27" fmla="*/ 0 w 1095375"/>
                  <a:gd name="connsiteY27" fmla="*/ 346075 h 892175"/>
                  <a:gd name="connsiteX28" fmla="*/ 114300 w 1095375"/>
                  <a:gd name="connsiteY28" fmla="*/ 384175 h 892175"/>
                  <a:gd name="connsiteX29" fmla="*/ 196850 w 1095375"/>
                  <a:gd name="connsiteY29" fmla="*/ 508000 h 892175"/>
                  <a:gd name="connsiteX30" fmla="*/ 193675 w 1095375"/>
                  <a:gd name="connsiteY30" fmla="*/ 558800 h 892175"/>
                  <a:gd name="connsiteX31" fmla="*/ 282575 w 1095375"/>
                  <a:gd name="connsiteY31" fmla="*/ 615950 h 892175"/>
                  <a:gd name="connsiteX32" fmla="*/ 419100 w 1095375"/>
                  <a:gd name="connsiteY32" fmla="*/ 727075 h 892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095375" h="892175">
                    <a:moveTo>
                      <a:pt x="419100" y="727075"/>
                    </a:moveTo>
                    <a:lnTo>
                      <a:pt x="561975" y="863600"/>
                    </a:lnTo>
                    <a:lnTo>
                      <a:pt x="561975" y="892175"/>
                    </a:lnTo>
                    <a:lnTo>
                      <a:pt x="669925" y="885825"/>
                    </a:lnTo>
                    <a:lnTo>
                      <a:pt x="762000" y="882650"/>
                    </a:lnTo>
                    <a:lnTo>
                      <a:pt x="876300" y="765175"/>
                    </a:lnTo>
                    <a:lnTo>
                      <a:pt x="1095375" y="644525"/>
                    </a:lnTo>
                    <a:lnTo>
                      <a:pt x="996950" y="574675"/>
                    </a:lnTo>
                    <a:lnTo>
                      <a:pt x="968375" y="498475"/>
                    </a:lnTo>
                    <a:lnTo>
                      <a:pt x="917575" y="536575"/>
                    </a:lnTo>
                    <a:lnTo>
                      <a:pt x="879475" y="511175"/>
                    </a:lnTo>
                    <a:lnTo>
                      <a:pt x="844550" y="530225"/>
                    </a:lnTo>
                    <a:lnTo>
                      <a:pt x="825500" y="457200"/>
                    </a:lnTo>
                    <a:lnTo>
                      <a:pt x="784225" y="396875"/>
                    </a:lnTo>
                    <a:lnTo>
                      <a:pt x="793750" y="238125"/>
                    </a:lnTo>
                    <a:lnTo>
                      <a:pt x="654050" y="203200"/>
                    </a:lnTo>
                    <a:lnTo>
                      <a:pt x="581025" y="107950"/>
                    </a:lnTo>
                    <a:lnTo>
                      <a:pt x="609600" y="53975"/>
                    </a:lnTo>
                    <a:lnTo>
                      <a:pt x="495300" y="0"/>
                    </a:lnTo>
                    <a:lnTo>
                      <a:pt x="552450" y="73025"/>
                    </a:lnTo>
                    <a:lnTo>
                      <a:pt x="390525" y="82550"/>
                    </a:lnTo>
                    <a:cubicBezTo>
                      <a:pt x="389467" y="132292"/>
                      <a:pt x="388408" y="182033"/>
                      <a:pt x="387350" y="231775"/>
                    </a:cubicBezTo>
                    <a:lnTo>
                      <a:pt x="339725" y="269875"/>
                    </a:lnTo>
                    <a:lnTo>
                      <a:pt x="292100" y="212725"/>
                    </a:lnTo>
                    <a:lnTo>
                      <a:pt x="203200" y="165100"/>
                    </a:lnTo>
                    <a:lnTo>
                      <a:pt x="136525" y="200025"/>
                    </a:lnTo>
                    <a:lnTo>
                      <a:pt x="127000" y="311150"/>
                    </a:lnTo>
                    <a:lnTo>
                      <a:pt x="0" y="346075"/>
                    </a:lnTo>
                    <a:lnTo>
                      <a:pt x="114300" y="384175"/>
                    </a:lnTo>
                    <a:lnTo>
                      <a:pt x="196850" y="508000"/>
                    </a:lnTo>
                    <a:lnTo>
                      <a:pt x="193675" y="558800"/>
                    </a:lnTo>
                    <a:lnTo>
                      <a:pt x="282575" y="615950"/>
                    </a:lnTo>
                    <a:lnTo>
                      <a:pt x="419100" y="727075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1" name="Freeform 210"/>
              <p:cNvSpPr/>
              <p:nvPr/>
            </p:nvSpPr>
            <p:spPr>
              <a:xfrm>
                <a:off x="3432513" y="3605580"/>
                <a:ext cx="355477" cy="370622"/>
              </a:xfrm>
              <a:custGeom>
                <a:avLst/>
                <a:gdLst>
                  <a:gd name="connsiteX0" fmla="*/ 625475 w 625475"/>
                  <a:gd name="connsiteY0" fmla="*/ 460375 h 631825"/>
                  <a:gd name="connsiteX1" fmla="*/ 612775 w 625475"/>
                  <a:gd name="connsiteY1" fmla="*/ 409575 h 631825"/>
                  <a:gd name="connsiteX2" fmla="*/ 619125 w 625475"/>
                  <a:gd name="connsiteY2" fmla="*/ 365125 h 631825"/>
                  <a:gd name="connsiteX3" fmla="*/ 555625 w 625475"/>
                  <a:gd name="connsiteY3" fmla="*/ 371475 h 631825"/>
                  <a:gd name="connsiteX4" fmla="*/ 558800 w 625475"/>
                  <a:gd name="connsiteY4" fmla="*/ 317500 h 631825"/>
                  <a:gd name="connsiteX5" fmla="*/ 590550 w 625475"/>
                  <a:gd name="connsiteY5" fmla="*/ 292100 h 631825"/>
                  <a:gd name="connsiteX6" fmla="*/ 555625 w 625475"/>
                  <a:gd name="connsiteY6" fmla="*/ 241300 h 631825"/>
                  <a:gd name="connsiteX7" fmla="*/ 584200 w 625475"/>
                  <a:gd name="connsiteY7" fmla="*/ 123825 h 631825"/>
                  <a:gd name="connsiteX8" fmla="*/ 622300 w 625475"/>
                  <a:gd name="connsiteY8" fmla="*/ 95250 h 631825"/>
                  <a:gd name="connsiteX9" fmla="*/ 571500 w 625475"/>
                  <a:gd name="connsiteY9" fmla="*/ 79375 h 631825"/>
                  <a:gd name="connsiteX10" fmla="*/ 571500 w 625475"/>
                  <a:gd name="connsiteY10" fmla="*/ 25400 h 631825"/>
                  <a:gd name="connsiteX11" fmla="*/ 520700 w 625475"/>
                  <a:gd name="connsiteY11" fmla="*/ 12700 h 631825"/>
                  <a:gd name="connsiteX12" fmla="*/ 415925 w 625475"/>
                  <a:gd name="connsiteY12" fmla="*/ 73025 h 631825"/>
                  <a:gd name="connsiteX13" fmla="*/ 342900 w 625475"/>
                  <a:gd name="connsiteY13" fmla="*/ 0 h 631825"/>
                  <a:gd name="connsiteX14" fmla="*/ 200025 w 625475"/>
                  <a:gd name="connsiteY14" fmla="*/ 92075 h 631825"/>
                  <a:gd name="connsiteX15" fmla="*/ 0 w 625475"/>
                  <a:gd name="connsiteY15" fmla="*/ 142875 h 631825"/>
                  <a:gd name="connsiteX16" fmla="*/ 133350 w 625475"/>
                  <a:gd name="connsiteY16" fmla="*/ 168275 h 631825"/>
                  <a:gd name="connsiteX17" fmla="*/ 12700 w 625475"/>
                  <a:gd name="connsiteY17" fmla="*/ 279400 h 631825"/>
                  <a:gd name="connsiteX18" fmla="*/ 41275 w 625475"/>
                  <a:gd name="connsiteY18" fmla="*/ 390525 h 631825"/>
                  <a:gd name="connsiteX19" fmla="*/ 0 w 625475"/>
                  <a:gd name="connsiteY19" fmla="*/ 476250 h 631825"/>
                  <a:gd name="connsiteX20" fmla="*/ 28575 w 625475"/>
                  <a:gd name="connsiteY20" fmla="*/ 600075 h 631825"/>
                  <a:gd name="connsiteX21" fmla="*/ 168275 w 625475"/>
                  <a:gd name="connsiteY21" fmla="*/ 631825 h 631825"/>
                  <a:gd name="connsiteX22" fmla="*/ 282575 w 625475"/>
                  <a:gd name="connsiteY22" fmla="*/ 549275 h 631825"/>
                  <a:gd name="connsiteX23" fmla="*/ 292100 w 625475"/>
                  <a:gd name="connsiteY23" fmla="*/ 603250 h 631825"/>
                  <a:gd name="connsiteX24" fmla="*/ 396875 w 625475"/>
                  <a:gd name="connsiteY24" fmla="*/ 600075 h 631825"/>
                  <a:gd name="connsiteX25" fmla="*/ 463550 w 625475"/>
                  <a:gd name="connsiteY25" fmla="*/ 533400 h 631825"/>
                  <a:gd name="connsiteX26" fmla="*/ 492125 w 625475"/>
                  <a:gd name="connsiteY26" fmla="*/ 546100 h 631825"/>
                  <a:gd name="connsiteX27" fmla="*/ 600075 w 625475"/>
                  <a:gd name="connsiteY27" fmla="*/ 514350 h 631825"/>
                  <a:gd name="connsiteX28" fmla="*/ 625475 w 625475"/>
                  <a:gd name="connsiteY28" fmla="*/ 460375 h 631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25475" h="631825">
                    <a:moveTo>
                      <a:pt x="625475" y="460375"/>
                    </a:moveTo>
                    <a:lnTo>
                      <a:pt x="612775" y="409575"/>
                    </a:lnTo>
                    <a:lnTo>
                      <a:pt x="619125" y="365125"/>
                    </a:lnTo>
                    <a:lnTo>
                      <a:pt x="555625" y="371475"/>
                    </a:lnTo>
                    <a:lnTo>
                      <a:pt x="558800" y="317500"/>
                    </a:lnTo>
                    <a:lnTo>
                      <a:pt x="590550" y="292100"/>
                    </a:lnTo>
                    <a:lnTo>
                      <a:pt x="555625" y="241300"/>
                    </a:lnTo>
                    <a:lnTo>
                      <a:pt x="584200" y="123825"/>
                    </a:lnTo>
                    <a:lnTo>
                      <a:pt x="622300" y="95250"/>
                    </a:lnTo>
                    <a:lnTo>
                      <a:pt x="571500" y="79375"/>
                    </a:lnTo>
                    <a:lnTo>
                      <a:pt x="571500" y="25400"/>
                    </a:lnTo>
                    <a:lnTo>
                      <a:pt x="520700" y="12700"/>
                    </a:lnTo>
                    <a:lnTo>
                      <a:pt x="415925" y="73025"/>
                    </a:lnTo>
                    <a:lnTo>
                      <a:pt x="342900" y="0"/>
                    </a:lnTo>
                    <a:lnTo>
                      <a:pt x="200025" y="92075"/>
                    </a:lnTo>
                    <a:lnTo>
                      <a:pt x="0" y="142875"/>
                    </a:lnTo>
                    <a:lnTo>
                      <a:pt x="133350" y="168275"/>
                    </a:lnTo>
                    <a:lnTo>
                      <a:pt x="12700" y="279400"/>
                    </a:lnTo>
                    <a:lnTo>
                      <a:pt x="41275" y="390525"/>
                    </a:lnTo>
                    <a:lnTo>
                      <a:pt x="0" y="476250"/>
                    </a:lnTo>
                    <a:lnTo>
                      <a:pt x="28575" y="600075"/>
                    </a:lnTo>
                    <a:lnTo>
                      <a:pt x="168275" y="631825"/>
                    </a:lnTo>
                    <a:lnTo>
                      <a:pt x="282575" y="549275"/>
                    </a:lnTo>
                    <a:lnTo>
                      <a:pt x="292100" y="603250"/>
                    </a:lnTo>
                    <a:lnTo>
                      <a:pt x="396875" y="600075"/>
                    </a:lnTo>
                    <a:lnTo>
                      <a:pt x="463550" y="533400"/>
                    </a:lnTo>
                    <a:lnTo>
                      <a:pt x="492125" y="546100"/>
                    </a:lnTo>
                    <a:lnTo>
                      <a:pt x="600075" y="514350"/>
                    </a:lnTo>
                    <a:lnTo>
                      <a:pt x="625475" y="460375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2" name="Freeform 211"/>
              <p:cNvSpPr/>
              <p:nvPr/>
            </p:nvSpPr>
            <p:spPr>
              <a:xfrm>
                <a:off x="3741074" y="3495696"/>
                <a:ext cx="658624" cy="467469"/>
              </a:xfrm>
              <a:custGeom>
                <a:avLst/>
                <a:gdLst>
                  <a:gd name="connsiteX0" fmla="*/ 336550 w 1158875"/>
                  <a:gd name="connsiteY0" fmla="*/ 796925 h 796925"/>
                  <a:gd name="connsiteX1" fmla="*/ 530225 w 1158875"/>
                  <a:gd name="connsiteY1" fmla="*/ 723900 h 796925"/>
                  <a:gd name="connsiteX2" fmla="*/ 581025 w 1158875"/>
                  <a:gd name="connsiteY2" fmla="*/ 762000 h 796925"/>
                  <a:gd name="connsiteX3" fmla="*/ 596900 w 1158875"/>
                  <a:gd name="connsiteY3" fmla="*/ 730250 h 796925"/>
                  <a:gd name="connsiteX4" fmla="*/ 600075 w 1158875"/>
                  <a:gd name="connsiteY4" fmla="*/ 669925 h 796925"/>
                  <a:gd name="connsiteX5" fmla="*/ 755650 w 1158875"/>
                  <a:gd name="connsiteY5" fmla="*/ 593725 h 796925"/>
                  <a:gd name="connsiteX6" fmla="*/ 654050 w 1158875"/>
                  <a:gd name="connsiteY6" fmla="*/ 571500 h 796925"/>
                  <a:gd name="connsiteX7" fmla="*/ 663575 w 1158875"/>
                  <a:gd name="connsiteY7" fmla="*/ 536575 h 796925"/>
                  <a:gd name="connsiteX8" fmla="*/ 793750 w 1158875"/>
                  <a:gd name="connsiteY8" fmla="*/ 514350 h 796925"/>
                  <a:gd name="connsiteX9" fmla="*/ 822325 w 1158875"/>
                  <a:gd name="connsiteY9" fmla="*/ 387350 h 796925"/>
                  <a:gd name="connsiteX10" fmla="*/ 809625 w 1158875"/>
                  <a:gd name="connsiteY10" fmla="*/ 355600 h 796925"/>
                  <a:gd name="connsiteX11" fmla="*/ 841375 w 1158875"/>
                  <a:gd name="connsiteY11" fmla="*/ 288925 h 796925"/>
                  <a:gd name="connsiteX12" fmla="*/ 930275 w 1158875"/>
                  <a:gd name="connsiteY12" fmla="*/ 304800 h 796925"/>
                  <a:gd name="connsiteX13" fmla="*/ 968375 w 1158875"/>
                  <a:gd name="connsiteY13" fmla="*/ 361950 h 796925"/>
                  <a:gd name="connsiteX14" fmla="*/ 1158875 w 1158875"/>
                  <a:gd name="connsiteY14" fmla="*/ 355600 h 796925"/>
                  <a:gd name="connsiteX15" fmla="*/ 831850 w 1158875"/>
                  <a:gd name="connsiteY15" fmla="*/ 155575 h 796925"/>
                  <a:gd name="connsiteX16" fmla="*/ 727075 w 1158875"/>
                  <a:gd name="connsiteY16" fmla="*/ 254000 h 796925"/>
                  <a:gd name="connsiteX17" fmla="*/ 638175 w 1158875"/>
                  <a:gd name="connsiteY17" fmla="*/ 50800 h 796925"/>
                  <a:gd name="connsiteX18" fmla="*/ 342900 w 1158875"/>
                  <a:gd name="connsiteY18" fmla="*/ 0 h 796925"/>
                  <a:gd name="connsiteX19" fmla="*/ 269875 w 1158875"/>
                  <a:gd name="connsiteY19" fmla="*/ 82550 h 796925"/>
                  <a:gd name="connsiteX20" fmla="*/ 107950 w 1158875"/>
                  <a:gd name="connsiteY20" fmla="*/ 34925 h 796925"/>
                  <a:gd name="connsiteX21" fmla="*/ 66675 w 1158875"/>
                  <a:gd name="connsiteY21" fmla="*/ 85725 h 796925"/>
                  <a:gd name="connsiteX22" fmla="*/ 79375 w 1158875"/>
                  <a:gd name="connsiteY22" fmla="*/ 161925 h 796925"/>
                  <a:gd name="connsiteX23" fmla="*/ 66675 w 1158875"/>
                  <a:gd name="connsiteY23" fmla="*/ 222250 h 796925"/>
                  <a:gd name="connsiteX24" fmla="*/ 28575 w 1158875"/>
                  <a:gd name="connsiteY24" fmla="*/ 206375 h 796925"/>
                  <a:gd name="connsiteX25" fmla="*/ 15875 w 1158875"/>
                  <a:gd name="connsiteY25" fmla="*/ 276225 h 796925"/>
                  <a:gd name="connsiteX26" fmla="*/ 76200 w 1158875"/>
                  <a:gd name="connsiteY26" fmla="*/ 285750 h 796925"/>
                  <a:gd name="connsiteX27" fmla="*/ 34925 w 1158875"/>
                  <a:gd name="connsiteY27" fmla="*/ 301625 h 796925"/>
                  <a:gd name="connsiteX28" fmla="*/ 0 w 1158875"/>
                  <a:gd name="connsiteY28" fmla="*/ 419100 h 796925"/>
                  <a:gd name="connsiteX29" fmla="*/ 50800 w 1158875"/>
                  <a:gd name="connsiteY29" fmla="*/ 485775 h 796925"/>
                  <a:gd name="connsiteX30" fmla="*/ 3175 w 1158875"/>
                  <a:gd name="connsiteY30" fmla="*/ 504825 h 796925"/>
                  <a:gd name="connsiteX31" fmla="*/ 9525 w 1158875"/>
                  <a:gd name="connsiteY31" fmla="*/ 558800 h 796925"/>
                  <a:gd name="connsiteX32" fmla="*/ 79375 w 1158875"/>
                  <a:gd name="connsiteY32" fmla="*/ 558800 h 796925"/>
                  <a:gd name="connsiteX33" fmla="*/ 66675 w 1158875"/>
                  <a:gd name="connsiteY33" fmla="*/ 587375 h 796925"/>
                  <a:gd name="connsiteX34" fmla="*/ 76200 w 1158875"/>
                  <a:gd name="connsiteY34" fmla="*/ 650875 h 796925"/>
                  <a:gd name="connsiteX35" fmla="*/ 107950 w 1158875"/>
                  <a:gd name="connsiteY35" fmla="*/ 682625 h 796925"/>
                  <a:gd name="connsiteX36" fmla="*/ 209550 w 1158875"/>
                  <a:gd name="connsiteY36" fmla="*/ 676275 h 796925"/>
                  <a:gd name="connsiteX37" fmla="*/ 276225 w 1158875"/>
                  <a:gd name="connsiteY37" fmla="*/ 711200 h 796925"/>
                  <a:gd name="connsiteX38" fmla="*/ 336550 w 1158875"/>
                  <a:gd name="connsiteY38" fmla="*/ 796925 h 796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158875" h="796925">
                    <a:moveTo>
                      <a:pt x="336550" y="796925"/>
                    </a:moveTo>
                    <a:lnTo>
                      <a:pt x="530225" y="723900"/>
                    </a:lnTo>
                    <a:lnTo>
                      <a:pt x="581025" y="762000"/>
                    </a:lnTo>
                    <a:lnTo>
                      <a:pt x="596900" y="730250"/>
                    </a:lnTo>
                    <a:lnTo>
                      <a:pt x="600075" y="669925"/>
                    </a:lnTo>
                    <a:lnTo>
                      <a:pt x="755650" y="593725"/>
                    </a:lnTo>
                    <a:lnTo>
                      <a:pt x="654050" y="571500"/>
                    </a:lnTo>
                    <a:lnTo>
                      <a:pt x="663575" y="536575"/>
                    </a:lnTo>
                    <a:lnTo>
                      <a:pt x="793750" y="514350"/>
                    </a:lnTo>
                    <a:lnTo>
                      <a:pt x="822325" y="387350"/>
                    </a:lnTo>
                    <a:lnTo>
                      <a:pt x="809625" y="355600"/>
                    </a:lnTo>
                    <a:lnTo>
                      <a:pt x="841375" y="288925"/>
                    </a:lnTo>
                    <a:lnTo>
                      <a:pt x="930275" y="304800"/>
                    </a:lnTo>
                    <a:lnTo>
                      <a:pt x="968375" y="361950"/>
                    </a:lnTo>
                    <a:lnTo>
                      <a:pt x="1158875" y="355600"/>
                    </a:lnTo>
                    <a:lnTo>
                      <a:pt x="831850" y="155575"/>
                    </a:lnTo>
                    <a:lnTo>
                      <a:pt x="727075" y="254000"/>
                    </a:lnTo>
                    <a:lnTo>
                      <a:pt x="638175" y="50800"/>
                    </a:lnTo>
                    <a:lnTo>
                      <a:pt x="342900" y="0"/>
                    </a:lnTo>
                    <a:lnTo>
                      <a:pt x="269875" y="82550"/>
                    </a:lnTo>
                    <a:lnTo>
                      <a:pt x="107950" y="34925"/>
                    </a:lnTo>
                    <a:lnTo>
                      <a:pt x="66675" y="85725"/>
                    </a:lnTo>
                    <a:lnTo>
                      <a:pt x="79375" y="161925"/>
                    </a:lnTo>
                    <a:lnTo>
                      <a:pt x="66675" y="222250"/>
                    </a:lnTo>
                    <a:lnTo>
                      <a:pt x="28575" y="206375"/>
                    </a:lnTo>
                    <a:lnTo>
                      <a:pt x="15875" y="276225"/>
                    </a:lnTo>
                    <a:lnTo>
                      <a:pt x="76200" y="285750"/>
                    </a:lnTo>
                    <a:lnTo>
                      <a:pt x="34925" y="301625"/>
                    </a:lnTo>
                    <a:lnTo>
                      <a:pt x="0" y="419100"/>
                    </a:lnTo>
                    <a:lnTo>
                      <a:pt x="50800" y="485775"/>
                    </a:lnTo>
                    <a:lnTo>
                      <a:pt x="3175" y="504825"/>
                    </a:lnTo>
                    <a:lnTo>
                      <a:pt x="9525" y="558800"/>
                    </a:lnTo>
                    <a:lnTo>
                      <a:pt x="79375" y="558800"/>
                    </a:lnTo>
                    <a:lnTo>
                      <a:pt x="66675" y="587375"/>
                    </a:lnTo>
                    <a:lnTo>
                      <a:pt x="76200" y="650875"/>
                    </a:lnTo>
                    <a:lnTo>
                      <a:pt x="107950" y="682625"/>
                    </a:lnTo>
                    <a:lnTo>
                      <a:pt x="209550" y="676275"/>
                    </a:lnTo>
                    <a:lnTo>
                      <a:pt x="276225" y="711200"/>
                    </a:lnTo>
                    <a:lnTo>
                      <a:pt x="336550" y="796925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3" name="Freeform 212"/>
              <p:cNvSpPr/>
              <p:nvPr/>
            </p:nvSpPr>
            <p:spPr>
              <a:xfrm>
                <a:off x="3811448" y="3830933"/>
                <a:ext cx="680278" cy="547553"/>
              </a:xfrm>
              <a:custGeom>
                <a:avLst/>
                <a:gdLst>
                  <a:gd name="connsiteX0" fmla="*/ 168275 w 1196975"/>
                  <a:gd name="connsiteY0" fmla="*/ 898525 h 933450"/>
                  <a:gd name="connsiteX1" fmla="*/ 257175 w 1196975"/>
                  <a:gd name="connsiteY1" fmla="*/ 923925 h 933450"/>
                  <a:gd name="connsiteX2" fmla="*/ 355600 w 1196975"/>
                  <a:gd name="connsiteY2" fmla="*/ 911225 h 933450"/>
                  <a:gd name="connsiteX3" fmla="*/ 396875 w 1196975"/>
                  <a:gd name="connsiteY3" fmla="*/ 933450 h 933450"/>
                  <a:gd name="connsiteX4" fmla="*/ 463550 w 1196975"/>
                  <a:gd name="connsiteY4" fmla="*/ 895350 h 933450"/>
                  <a:gd name="connsiteX5" fmla="*/ 495300 w 1196975"/>
                  <a:gd name="connsiteY5" fmla="*/ 841375 h 933450"/>
                  <a:gd name="connsiteX6" fmla="*/ 552450 w 1196975"/>
                  <a:gd name="connsiteY6" fmla="*/ 866775 h 933450"/>
                  <a:gd name="connsiteX7" fmla="*/ 622300 w 1196975"/>
                  <a:gd name="connsiteY7" fmla="*/ 838200 h 933450"/>
                  <a:gd name="connsiteX8" fmla="*/ 631825 w 1196975"/>
                  <a:gd name="connsiteY8" fmla="*/ 781050 h 933450"/>
                  <a:gd name="connsiteX9" fmla="*/ 606425 w 1196975"/>
                  <a:gd name="connsiteY9" fmla="*/ 755650 h 933450"/>
                  <a:gd name="connsiteX10" fmla="*/ 615950 w 1196975"/>
                  <a:gd name="connsiteY10" fmla="*/ 685800 h 933450"/>
                  <a:gd name="connsiteX11" fmla="*/ 673100 w 1196975"/>
                  <a:gd name="connsiteY11" fmla="*/ 657225 h 933450"/>
                  <a:gd name="connsiteX12" fmla="*/ 657225 w 1196975"/>
                  <a:gd name="connsiteY12" fmla="*/ 593725 h 933450"/>
                  <a:gd name="connsiteX13" fmla="*/ 692150 w 1196975"/>
                  <a:gd name="connsiteY13" fmla="*/ 530225 h 933450"/>
                  <a:gd name="connsiteX14" fmla="*/ 730250 w 1196975"/>
                  <a:gd name="connsiteY14" fmla="*/ 457200 h 933450"/>
                  <a:gd name="connsiteX15" fmla="*/ 771525 w 1196975"/>
                  <a:gd name="connsiteY15" fmla="*/ 498475 h 933450"/>
                  <a:gd name="connsiteX16" fmla="*/ 920750 w 1196975"/>
                  <a:gd name="connsiteY16" fmla="*/ 488950 h 933450"/>
                  <a:gd name="connsiteX17" fmla="*/ 958850 w 1196975"/>
                  <a:gd name="connsiteY17" fmla="*/ 565150 h 933450"/>
                  <a:gd name="connsiteX18" fmla="*/ 1054100 w 1196975"/>
                  <a:gd name="connsiteY18" fmla="*/ 625475 h 933450"/>
                  <a:gd name="connsiteX19" fmla="*/ 1120775 w 1196975"/>
                  <a:gd name="connsiteY19" fmla="*/ 593725 h 933450"/>
                  <a:gd name="connsiteX20" fmla="*/ 1196975 w 1196975"/>
                  <a:gd name="connsiteY20" fmla="*/ 533400 h 933450"/>
                  <a:gd name="connsiteX21" fmla="*/ 1063625 w 1196975"/>
                  <a:gd name="connsiteY21" fmla="*/ 371475 h 933450"/>
                  <a:gd name="connsiteX22" fmla="*/ 1016000 w 1196975"/>
                  <a:gd name="connsiteY22" fmla="*/ 422275 h 933450"/>
                  <a:gd name="connsiteX23" fmla="*/ 968375 w 1196975"/>
                  <a:gd name="connsiteY23" fmla="*/ 403225 h 933450"/>
                  <a:gd name="connsiteX24" fmla="*/ 958850 w 1196975"/>
                  <a:gd name="connsiteY24" fmla="*/ 361950 h 933450"/>
                  <a:gd name="connsiteX25" fmla="*/ 939800 w 1196975"/>
                  <a:gd name="connsiteY25" fmla="*/ 295275 h 933450"/>
                  <a:gd name="connsiteX26" fmla="*/ 863600 w 1196975"/>
                  <a:gd name="connsiteY26" fmla="*/ 298450 h 933450"/>
                  <a:gd name="connsiteX27" fmla="*/ 863600 w 1196975"/>
                  <a:gd name="connsiteY27" fmla="*/ 269875 h 933450"/>
                  <a:gd name="connsiteX28" fmla="*/ 904875 w 1196975"/>
                  <a:gd name="connsiteY28" fmla="*/ 250825 h 933450"/>
                  <a:gd name="connsiteX29" fmla="*/ 866775 w 1196975"/>
                  <a:gd name="connsiteY29" fmla="*/ 168275 h 933450"/>
                  <a:gd name="connsiteX30" fmla="*/ 825500 w 1196975"/>
                  <a:gd name="connsiteY30" fmla="*/ 231775 h 933450"/>
                  <a:gd name="connsiteX31" fmla="*/ 809625 w 1196975"/>
                  <a:gd name="connsiteY31" fmla="*/ 184150 h 933450"/>
                  <a:gd name="connsiteX32" fmla="*/ 762000 w 1196975"/>
                  <a:gd name="connsiteY32" fmla="*/ 177800 h 933450"/>
                  <a:gd name="connsiteX33" fmla="*/ 762000 w 1196975"/>
                  <a:gd name="connsiteY33" fmla="*/ 149225 h 933450"/>
                  <a:gd name="connsiteX34" fmla="*/ 781050 w 1196975"/>
                  <a:gd name="connsiteY34" fmla="*/ 142875 h 933450"/>
                  <a:gd name="connsiteX35" fmla="*/ 784225 w 1196975"/>
                  <a:gd name="connsiteY35" fmla="*/ 107950 h 933450"/>
                  <a:gd name="connsiteX36" fmla="*/ 768350 w 1196975"/>
                  <a:gd name="connsiteY36" fmla="*/ 82550 h 933450"/>
                  <a:gd name="connsiteX37" fmla="*/ 809625 w 1196975"/>
                  <a:gd name="connsiteY37" fmla="*/ 41275 h 933450"/>
                  <a:gd name="connsiteX38" fmla="*/ 800100 w 1196975"/>
                  <a:gd name="connsiteY38" fmla="*/ 19050 h 933450"/>
                  <a:gd name="connsiteX39" fmla="*/ 768350 w 1196975"/>
                  <a:gd name="connsiteY39" fmla="*/ 0 h 933450"/>
                  <a:gd name="connsiteX40" fmla="*/ 717550 w 1196975"/>
                  <a:gd name="connsiteY40" fmla="*/ 38100 h 933450"/>
                  <a:gd name="connsiteX41" fmla="*/ 688975 w 1196975"/>
                  <a:gd name="connsiteY41" fmla="*/ 15875 h 933450"/>
                  <a:gd name="connsiteX42" fmla="*/ 638175 w 1196975"/>
                  <a:gd name="connsiteY42" fmla="*/ 22225 h 933450"/>
                  <a:gd name="connsiteX43" fmla="*/ 492125 w 1196975"/>
                  <a:gd name="connsiteY43" fmla="*/ 92075 h 933450"/>
                  <a:gd name="connsiteX44" fmla="*/ 469900 w 1196975"/>
                  <a:gd name="connsiteY44" fmla="*/ 165100 h 933450"/>
                  <a:gd name="connsiteX45" fmla="*/ 460375 w 1196975"/>
                  <a:gd name="connsiteY45" fmla="*/ 196850 h 933450"/>
                  <a:gd name="connsiteX46" fmla="*/ 412750 w 1196975"/>
                  <a:gd name="connsiteY46" fmla="*/ 152400 h 933450"/>
                  <a:gd name="connsiteX47" fmla="*/ 206375 w 1196975"/>
                  <a:gd name="connsiteY47" fmla="*/ 215900 h 933450"/>
                  <a:gd name="connsiteX48" fmla="*/ 190500 w 1196975"/>
                  <a:gd name="connsiteY48" fmla="*/ 219075 h 933450"/>
                  <a:gd name="connsiteX49" fmla="*/ 177800 w 1196975"/>
                  <a:gd name="connsiteY49" fmla="*/ 311150 h 933450"/>
                  <a:gd name="connsiteX50" fmla="*/ 139700 w 1196975"/>
                  <a:gd name="connsiteY50" fmla="*/ 342900 h 933450"/>
                  <a:gd name="connsiteX51" fmla="*/ 0 w 1196975"/>
                  <a:gd name="connsiteY51" fmla="*/ 561975 h 933450"/>
                  <a:gd name="connsiteX52" fmla="*/ 104775 w 1196975"/>
                  <a:gd name="connsiteY52" fmla="*/ 625475 h 933450"/>
                  <a:gd name="connsiteX53" fmla="*/ 50800 w 1196975"/>
                  <a:gd name="connsiteY53" fmla="*/ 714375 h 933450"/>
                  <a:gd name="connsiteX54" fmla="*/ 57150 w 1196975"/>
                  <a:gd name="connsiteY54" fmla="*/ 781050 h 933450"/>
                  <a:gd name="connsiteX55" fmla="*/ 168275 w 1196975"/>
                  <a:gd name="connsiteY55" fmla="*/ 898525 h 933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96975" h="933450">
                    <a:moveTo>
                      <a:pt x="168275" y="898525"/>
                    </a:moveTo>
                    <a:lnTo>
                      <a:pt x="257175" y="923925"/>
                    </a:lnTo>
                    <a:lnTo>
                      <a:pt x="355600" y="911225"/>
                    </a:lnTo>
                    <a:lnTo>
                      <a:pt x="396875" y="933450"/>
                    </a:lnTo>
                    <a:lnTo>
                      <a:pt x="463550" y="895350"/>
                    </a:lnTo>
                    <a:lnTo>
                      <a:pt x="495300" y="841375"/>
                    </a:lnTo>
                    <a:lnTo>
                      <a:pt x="552450" y="866775"/>
                    </a:lnTo>
                    <a:lnTo>
                      <a:pt x="622300" y="838200"/>
                    </a:lnTo>
                    <a:lnTo>
                      <a:pt x="631825" y="781050"/>
                    </a:lnTo>
                    <a:lnTo>
                      <a:pt x="606425" y="755650"/>
                    </a:lnTo>
                    <a:lnTo>
                      <a:pt x="615950" y="685800"/>
                    </a:lnTo>
                    <a:lnTo>
                      <a:pt x="673100" y="657225"/>
                    </a:lnTo>
                    <a:lnTo>
                      <a:pt x="657225" y="593725"/>
                    </a:lnTo>
                    <a:lnTo>
                      <a:pt x="692150" y="530225"/>
                    </a:lnTo>
                    <a:lnTo>
                      <a:pt x="730250" y="457200"/>
                    </a:lnTo>
                    <a:lnTo>
                      <a:pt x="771525" y="498475"/>
                    </a:lnTo>
                    <a:lnTo>
                      <a:pt x="920750" y="488950"/>
                    </a:lnTo>
                    <a:lnTo>
                      <a:pt x="958850" y="565150"/>
                    </a:lnTo>
                    <a:lnTo>
                      <a:pt x="1054100" y="625475"/>
                    </a:lnTo>
                    <a:lnTo>
                      <a:pt x="1120775" y="593725"/>
                    </a:lnTo>
                    <a:lnTo>
                      <a:pt x="1196975" y="533400"/>
                    </a:lnTo>
                    <a:lnTo>
                      <a:pt x="1063625" y="371475"/>
                    </a:lnTo>
                    <a:lnTo>
                      <a:pt x="1016000" y="422275"/>
                    </a:lnTo>
                    <a:lnTo>
                      <a:pt x="968375" y="403225"/>
                    </a:lnTo>
                    <a:lnTo>
                      <a:pt x="958850" y="361950"/>
                    </a:lnTo>
                    <a:lnTo>
                      <a:pt x="939800" y="295275"/>
                    </a:lnTo>
                    <a:lnTo>
                      <a:pt x="863600" y="298450"/>
                    </a:lnTo>
                    <a:lnTo>
                      <a:pt x="863600" y="269875"/>
                    </a:lnTo>
                    <a:lnTo>
                      <a:pt x="904875" y="250825"/>
                    </a:lnTo>
                    <a:lnTo>
                      <a:pt x="866775" y="168275"/>
                    </a:lnTo>
                    <a:lnTo>
                      <a:pt x="825500" y="231775"/>
                    </a:lnTo>
                    <a:lnTo>
                      <a:pt x="809625" y="184150"/>
                    </a:lnTo>
                    <a:lnTo>
                      <a:pt x="762000" y="177800"/>
                    </a:lnTo>
                    <a:lnTo>
                      <a:pt x="762000" y="149225"/>
                    </a:lnTo>
                    <a:lnTo>
                      <a:pt x="781050" y="142875"/>
                    </a:lnTo>
                    <a:lnTo>
                      <a:pt x="784225" y="107950"/>
                    </a:lnTo>
                    <a:lnTo>
                      <a:pt x="768350" y="82550"/>
                    </a:lnTo>
                    <a:lnTo>
                      <a:pt x="809625" y="41275"/>
                    </a:lnTo>
                    <a:lnTo>
                      <a:pt x="800100" y="19050"/>
                    </a:lnTo>
                    <a:lnTo>
                      <a:pt x="768350" y="0"/>
                    </a:lnTo>
                    <a:lnTo>
                      <a:pt x="717550" y="38100"/>
                    </a:lnTo>
                    <a:lnTo>
                      <a:pt x="688975" y="15875"/>
                    </a:lnTo>
                    <a:lnTo>
                      <a:pt x="638175" y="22225"/>
                    </a:lnTo>
                    <a:lnTo>
                      <a:pt x="492125" y="92075"/>
                    </a:lnTo>
                    <a:lnTo>
                      <a:pt x="469900" y="165100"/>
                    </a:lnTo>
                    <a:lnTo>
                      <a:pt x="460375" y="196850"/>
                    </a:lnTo>
                    <a:lnTo>
                      <a:pt x="412750" y="152400"/>
                    </a:lnTo>
                    <a:lnTo>
                      <a:pt x="206375" y="215900"/>
                    </a:lnTo>
                    <a:lnTo>
                      <a:pt x="190500" y="219075"/>
                    </a:lnTo>
                    <a:lnTo>
                      <a:pt x="177800" y="311150"/>
                    </a:lnTo>
                    <a:lnTo>
                      <a:pt x="139700" y="342900"/>
                    </a:lnTo>
                    <a:lnTo>
                      <a:pt x="0" y="561975"/>
                    </a:lnTo>
                    <a:lnTo>
                      <a:pt x="104775" y="625475"/>
                    </a:lnTo>
                    <a:lnTo>
                      <a:pt x="50800" y="714375"/>
                    </a:lnTo>
                    <a:lnTo>
                      <a:pt x="57150" y="781050"/>
                    </a:lnTo>
                    <a:lnTo>
                      <a:pt x="168275" y="898525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4" name="Freeform 213"/>
              <p:cNvSpPr/>
              <p:nvPr/>
            </p:nvSpPr>
            <p:spPr>
              <a:xfrm>
                <a:off x="4118203" y="3667040"/>
                <a:ext cx="274276" cy="290538"/>
              </a:xfrm>
              <a:custGeom>
                <a:avLst/>
                <a:gdLst>
                  <a:gd name="connsiteX0" fmla="*/ 352425 w 482600"/>
                  <a:gd name="connsiteY0" fmla="*/ 434975 h 495300"/>
                  <a:gd name="connsiteX1" fmla="*/ 447675 w 482600"/>
                  <a:gd name="connsiteY1" fmla="*/ 403225 h 495300"/>
                  <a:gd name="connsiteX2" fmla="*/ 431800 w 482600"/>
                  <a:gd name="connsiteY2" fmla="*/ 323850 h 495300"/>
                  <a:gd name="connsiteX3" fmla="*/ 482600 w 482600"/>
                  <a:gd name="connsiteY3" fmla="*/ 234950 h 495300"/>
                  <a:gd name="connsiteX4" fmla="*/ 466725 w 482600"/>
                  <a:gd name="connsiteY4" fmla="*/ 69850 h 495300"/>
                  <a:gd name="connsiteX5" fmla="*/ 304800 w 482600"/>
                  <a:gd name="connsiteY5" fmla="*/ 69850 h 495300"/>
                  <a:gd name="connsiteX6" fmla="*/ 269875 w 482600"/>
                  <a:gd name="connsiteY6" fmla="*/ 15875 h 495300"/>
                  <a:gd name="connsiteX7" fmla="*/ 184150 w 482600"/>
                  <a:gd name="connsiteY7" fmla="*/ 0 h 495300"/>
                  <a:gd name="connsiteX8" fmla="*/ 152400 w 482600"/>
                  <a:gd name="connsiteY8" fmla="*/ 66675 h 495300"/>
                  <a:gd name="connsiteX9" fmla="*/ 152400 w 482600"/>
                  <a:gd name="connsiteY9" fmla="*/ 117475 h 495300"/>
                  <a:gd name="connsiteX10" fmla="*/ 120650 w 482600"/>
                  <a:gd name="connsiteY10" fmla="*/ 215900 h 495300"/>
                  <a:gd name="connsiteX11" fmla="*/ 0 w 482600"/>
                  <a:gd name="connsiteY11" fmla="*/ 244475 h 495300"/>
                  <a:gd name="connsiteX12" fmla="*/ 3175 w 482600"/>
                  <a:gd name="connsiteY12" fmla="*/ 269875 h 495300"/>
                  <a:gd name="connsiteX13" fmla="*/ 57150 w 482600"/>
                  <a:gd name="connsiteY13" fmla="*/ 301625 h 495300"/>
                  <a:gd name="connsiteX14" fmla="*/ 155575 w 482600"/>
                  <a:gd name="connsiteY14" fmla="*/ 285750 h 495300"/>
                  <a:gd name="connsiteX15" fmla="*/ 177800 w 482600"/>
                  <a:gd name="connsiteY15" fmla="*/ 320675 h 495300"/>
                  <a:gd name="connsiteX16" fmla="*/ 231775 w 482600"/>
                  <a:gd name="connsiteY16" fmla="*/ 285750 h 495300"/>
                  <a:gd name="connsiteX17" fmla="*/ 269875 w 482600"/>
                  <a:gd name="connsiteY17" fmla="*/ 323850 h 495300"/>
                  <a:gd name="connsiteX18" fmla="*/ 228600 w 482600"/>
                  <a:gd name="connsiteY18" fmla="*/ 355600 h 495300"/>
                  <a:gd name="connsiteX19" fmla="*/ 250825 w 482600"/>
                  <a:gd name="connsiteY19" fmla="*/ 381000 h 495300"/>
                  <a:gd name="connsiteX20" fmla="*/ 244475 w 482600"/>
                  <a:gd name="connsiteY20" fmla="*/ 431800 h 495300"/>
                  <a:gd name="connsiteX21" fmla="*/ 212725 w 482600"/>
                  <a:gd name="connsiteY21" fmla="*/ 425450 h 495300"/>
                  <a:gd name="connsiteX22" fmla="*/ 254000 w 482600"/>
                  <a:gd name="connsiteY22" fmla="*/ 457200 h 495300"/>
                  <a:gd name="connsiteX23" fmla="*/ 288925 w 482600"/>
                  <a:gd name="connsiteY23" fmla="*/ 495300 h 495300"/>
                  <a:gd name="connsiteX24" fmla="*/ 352425 w 482600"/>
                  <a:gd name="connsiteY24" fmla="*/ 434975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82600" h="495300">
                    <a:moveTo>
                      <a:pt x="352425" y="434975"/>
                    </a:moveTo>
                    <a:lnTo>
                      <a:pt x="447675" y="403225"/>
                    </a:lnTo>
                    <a:lnTo>
                      <a:pt x="431800" y="323850"/>
                    </a:lnTo>
                    <a:lnTo>
                      <a:pt x="482600" y="234950"/>
                    </a:lnTo>
                    <a:lnTo>
                      <a:pt x="466725" y="69850"/>
                    </a:lnTo>
                    <a:lnTo>
                      <a:pt x="304800" y="69850"/>
                    </a:lnTo>
                    <a:lnTo>
                      <a:pt x="269875" y="15875"/>
                    </a:lnTo>
                    <a:lnTo>
                      <a:pt x="184150" y="0"/>
                    </a:lnTo>
                    <a:lnTo>
                      <a:pt x="152400" y="66675"/>
                    </a:lnTo>
                    <a:lnTo>
                      <a:pt x="152400" y="117475"/>
                    </a:lnTo>
                    <a:lnTo>
                      <a:pt x="120650" y="215900"/>
                    </a:lnTo>
                    <a:lnTo>
                      <a:pt x="0" y="244475"/>
                    </a:lnTo>
                    <a:lnTo>
                      <a:pt x="3175" y="269875"/>
                    </a:lnTo>
                    <a:lnTo>
                      <a:pt x="57150" y="301625"/>
                    </a:lnTo>
                    <a:lnTo>
                      <a:pt x="155575" y="285750"/>
                    </a:lnTo>
                    <a:lnTo>
                      <a:pt x="177800" y="320675"/>
                    </a:lnTo>
                    <a:lnTo>
                      <a:pt x="231775" y="285750"/>
                    </a:lnTo>
                    <a:lnTo>
                      <a:pt x="269875" y="323850"/>
                    </a:lnTo>
                    <a:lnTo>
                      <a:pt x="228600" y="355600"/>
                    </a:lnTo>
                    <a:lnTo>
                      <a:pt x="250825" y="381000"/>
                    </a:lnTo>
                    <a:lnTo>
                      <a:pt x="244475" y="431800"/>
                    </a:lnTo>
                    <a:lnTo>
                      <a:pt x="212725" y="425450"/>
                    </a:lnTo>
                    <a:lnTo>
                      <a:pt x="254000" y="457200"/>
                    </a:lnTo>
                    <a:lnTo>
                      <a:pt x="288925" y="495300"/>
                    </a:lnTo>
                    <a:lnTo>
                      <a:pt x="352425" y="434975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5" name="Freeform 214"/>
              <p:cNvSpPr/>
              <p:nvPr/>
            </p:nvSpPr>
            <p:spPr>
              <a:xfrm>
                <a:off x="4363607" y="3599993"/>
                <a:ext cx="393370" cy="322199"/>
              </a:xfrm>
              <a:custGeom>
                <a:avLst/>
                <a:gdLst>
                  <a:gd name="connsiteX0" fmla="*/ 3175 w 692150"/>
                  <a:gd name="connsiteY0" fmla="*/ 533400 h 549275"/>
                  <a:gd name="connsiteX1" fmla="*/ 139700 w 692150"/>
                  <a:gd name="connsiteY1" fmla="*/ 536575 h 549275"/>
                  <a:gd name="connsiteX2" fmla="*/ 257175 w 692150"/>
                  <a:gd name="connsiteY2" fmla="*/ 549275 h 549275"/>
                  <a:gd name="connsiteX3" fmla="*/ 428625 w 692150"/>
                  <a:gd name="connsiteY3" fmla="*/ 533400 h 549275"/>
                  <a:gd name="connsiteX4" fmla="*/ 485775 w 692150"/>
                  <a:gd name="connsiteY4" fmla="*/ 466725 h 549275"/>
                  <a:gd name="connsiteX5" fmla="*/ 625475 w 692150"/>
                  <a:gd name="connsiteY5" fmla="*/ 425450 h 549275"/>
                  <a:gd name="connsiteX6" fmla="*/ 628650 w 692150"/>
                  <a:gd name="connsiteY6" fmla="*/ 358775 h 549275"/>
                  <a:gd name="connsiteX7" fmla="*/ 647700 w 692150"/>
                  <a:gd name="connsiteY7" fmla="*/ 269875 h 549275"/>
                  <a:gd name="connsiteX8" fmla="*/ 692150 w 692150"/>
                  <a:gd name="connsiteY8" fmla="*/ 101600 h 549275"/>
                  <a:gd name="connsiteX9" fmla="*/ 584200 w 692150"/>
                  <a:gd name="connsiteY9" fmla="*/ 171450 h 549275"/>
                  <a:gd name="connsiteX10" fmla="*/ 384175 w 692150"/>
                  <a:gd name="connsiteY10" fmla="*/ 168275 h 549275"/>
                  <a:gd name="connsiteX11" fmla="*/ 393700 w 692150"/>
                  <a:gd name="connsiteY11" fmla="*/ 146050 h 549275"/>
                  <a:gd name="connsiteX12" fmla="*/ 244475 w 692150"/>
                  <a:gd name="connsiteY12" fmla="*/ 0 h 549275"/>
                  <a:gd name="connsiteX13" fmla="*/ 177800 w 692150"/>
                  <a:gd name="connsiteY13" fmla="*/ 73025 h 549275"/>
                  <a:gd name="connsiteX14" fmla="*/ 66675 w 692150"/>
                  <a:gd name="connsiteY14" fmla="*/ 38100 h 549275"/>
                  <a:gd name="connsiteX15" fmla="*/ 41275 w 692150"/>
                  <a:gd name="connsiteY15" fmla="*/ 63500 h 549275"/>
                  <a:gd name="connsiteX16" fmla="*/ 63500 w 692150"/>
                  <a:gd name="connsiteY16" fmla="*/ 174625 h 549275"/>
                  <a:gd name="connsiteX17" fmla="*/ 38100 w 692150"/>
                  <a:gd name="connsiteY17" fmla="*/ 177800 h 549275"/>
                  <a:gd name="connsiteX18" fmla="*/ 44450 w 692150"/>
                  <a:gd name="connsiteY18" fmla="*/ 339725 h 549275"/>
                  <a:gd name="connsiteX19" fmla="*/ 0 w 692150"/>
                  <a:gd name="connsiteY19" fmla="*/ 428625 h 549275"/>
                  <a:gd name="connsiteX20" fmla="*/ 3175 w 692150"/>
                  <a:gd name="connsiteY20" fmla="*/ 533400 h 549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2150" h="549275">
                    <a:moveTo>
                      <a:pt x="3175" y="533400"/>
                    </a:moveTo>
                    <a:lnTo>
                      <a:pt x="139700" y="536575"/>
                    </a:lnTo>
                    <a:lnTo>
                      <a:pt x="257175" y="549275"/>
                    </a:lnTo>
                    <a:lnTo>
                      <a:pt x="428625" y="533400"/>
                    </a:lnTo>
                    <a:lnTo>
                      <a:pt x="485775" y="466725"/>
                    </a:lnTo>
                    <a:lnTo>
                      <a:pt x="625475" y="425450"/>
                    </a:lnTo>
                    <a:lnTo>
                      <a:pt x="628650" y="358775"/>
                    </a:lnTo>
                    <a:lnTo>
                      <a:pt x="647700" y="269875"/>
                    </a:lnTo>
                    <a:lnTo>
                      <a:pt x="692150" y="101600"/>
                    </a:lnTo>
                    <a:lnTo>
                      <a:pt x="584200" y="171450"/>
                    </a:lnTo>
                    <a:lnTo>
                      <a:pt x="384175" y="168275"/>
                    </a:lnTo>
                    <a:lnTo>
                      <a:pt x="393700" y="146050"/>
                    </a:lnTo>
                    <a:lnTo>
                      <a:pt x="244475" y="0"/>
                    </a:lnTo>
                    <a:lnTo>
                      <a:pt x="177800" y="73025"/>
                    </a:lnTo>
                    <a:lnTo>
                      <a:pt x="66675" y="38100"/>
                    </a:lnTo>
                    <a:lnTo>
                      <a:pt x="41275" y="63500"/>
                    </a:lnTo>
                    <a:lnTo>
                      <a:pt x="63500" y="174625"/>
                    </a:lnTo>
                    <a:lnTo>
                      <a:pt x="38100" y="177800"/>
                    </a:lnTo>
                    <a:lnTo>
                      <a:pt x="44450" y="339725"/>
                    </a:lnTo>
                    <a:lnTo>
                      <a:pt x="0" y="428625"/>
                    </a:lnTo>
                    <a:cubicBezTo>
                      <a:pt x="1058" y="463550"/>
                      <a:pt x="2117" y="498475"/>
                      <a:pt x="3175" y="533400"/>
                    </a:cubicBez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6" name="Freeform 215"/>
              <p:cNvSpPr/>
              <p:nvPr/>
            </p:nvSpPr>
            <p:spPr>
              <a:xfrm>
                <a:off x="4300454" y="3853283"/>
                <a:ext cx="671255" cy="717034"/>
              </a:xfrm>
              <a:custGeom>
                <a:avLst/>
                <a:gdLst>
                  <a:gd name="connsiteX0" fmla="*/ 95250 w 1181100"/>
                  <a:gd name="connsiteY0" fmla="*/ 95250 h 1222375"/>
                  <a:gd name="connsiteX1" fmla="*/ 15875 w 1181100"/>
                  <a:gd name="connsiteY1" fmla="*/ 123825 h 1222375"/>
                  <a:gd name="connsiteX2" fmla="*/ 47625 w 1181100"/>
                  <a:gd name="connsiteY2" fmla="*/ 212725 h 1222375"/>
                  <a:gd name="connsiteX3" fmla="*/ 0 w 1181100"/>
                  <a:gd name="connsiteY3" fmla="*/ 225425 h 1222375"/>
                  <a:gd name="connsiteX4" fmla="*/ 9525 w 1181100"/>
                  <a:gd name="connsiteY4" fmla="*/ 250825 h 1222375"/>
                  <a:gd name="connsiteX5" fmla="*/ 79375 w 1181100"/>
                  <a:gd name="connsiteY5" fmla="*/ 250825 h 1222375"/>
                  <a:gd name="connsiteX6" fmla="*/ 107950 w 1181100"/>
                  <a:gd name="connsiteY6" fmla="*/ 358775 h 1222375"/>
                  <a:gd name="connsiteX7" fmla="*/ 152400 w 1181100"/>
                  <a:gd name="connsiteY7" fmla="*/ 377825 h 1222375"/>
                  <a:gd name="connsiteX8" fmla="*/ 200025 w 1181100"/>
                  <a:gd name="connsiteY8" fmla="*/ 330200 h 1222375"/>
                  <a:gd name="connsiteX9" fmla="*/ 342900 w 1181100"/>
                  <a:gd name="connsiteY9" fmla="*/ 492125 h 1222375"/>
                  <a:gd name="connsiteX10" fmla="*/ 355600 w 1181100"/>
                  <a:gd name="connsiteY10" fmla="*/ 520700 h 1222375"/>
                  <a:gd name="connsiteX11" fmla="*/ 323850 w 1181100"/>
                  <a:gd name="connsiteY11" fmla="*/ 558800 h 1222375"/>
                  <a:gd name="connsiteX12" fmla="*/ 412750 w 1181100"/>
                  <a:gd name="connsiteY12" fmla="*/ 565150 h 1222375"/>
                  <a:gd name="connsiteX13" fmla="*/ 460375 w 1181100"/>
                  <a:gd name="connsiteY13" fmla="*/ 628650 h 1222375"/>
                  <a:gd name="connsiteX14" fmla="*/ 457200 w 1181100"/>
                  <a:gd name="connsiteY14" fmla="*/ 682625 h 1222375"/>
                  <a:gd name="connsiteX15" fmla="*/ 438150 w 1181100"/>
                  <a:gd name="connsiteY15" fmla="*/ 752475 h 1222375"/>
                  <a:gd name="connsiteX16" fmla="*/ 504825 w 1181100"/>
                  <a:gd name="connsiteY16" fmla="*/ 819150 h 1222375"/>
                  <a:gd name="connsiteX17" fmla="*/ 549275 w 1181100"/>
                  <a:gd name="connsiteY17" fmla="*/ 847725 h 1222375"/>
                  <a:gd name="connsiteX18" fmla="*/ 606425 w 1181100"/>
                  <a:gd name="connsiteY18" fmla="*/ 774700 h 1222375"/>
                  <a:gd name="connsiteX19" fmla="*/ 641350 w 1181100"/>
                  <a:gd name="connsiteY19" fmla="*/ 787400 h 1222375"/>
                  <a:gd name="connsiteX20" fmla="*/ 682625 w 1181100"/>
                  <a:gd name="connsiteY20" fmla="*/ 844550 h 1222375"/>
                  <a:gd name="connsiteX21" fmla="*/ 714375 w 1181100"/>
                  <a:gd name="connsiteY21" fmla="*/ 828675 h 1222375"/>
                  <a:gd name="connsiteX22" fmla="*/ 730250 w 1181100"/>
                  <a:gd name="connsiteY22" fmla="*/ 942975 h 1222375"/>
                  <a:gd name="connsiteX23" fmla="*/ 676275 w 1181100"/>
                  <a:gd name="connsiteY23" fmla="*/ 1019175 h 1222375"/>
                  <a:gd name="connsiteX24" fmla="*/ 806450 w 1181100"/>
                  <a:gd name="connsiteY24" fmla="*/ 1089025 h 1222375"/>
                  <a:gd name="connsiteX25" fmla="*/ 946150 w 1181100"/>
                  <a:gd name="connsiteY25" fmla="*/ 1222375 h 1222375"/>
                  <a:gd name="connsiteX26" fmla="*/ 958850 w 1181100"/>
                  <a:gd name="connsiteY26" fmla="*/ 1092200 h 1222375"/>
                  <a:gd name="connsiteX27" fmla="*/ 996950 w 1181100"/>
                  <a:gd name="connsiteY27" fmla="*/ 1063625 h 1222375"/>
                  <a:gd name="connsiteX28" fmla="*/ 1016000 w 1181100"/>
                  <a:gd name="connsiteY28" fmla="*/ 955675 h 1222375"/>
                  <a:gd name="connsiteX29" fmla="*/ 1063625 w 1181100"/>
                  <a:gd name="connsiteY29" fmla="*/ 933450 h 1222375"/>
                  <a:gd name="connsiteX30" fmla="*/ 1133475 w 1181100"/>
                  <a:gd name="connsiteY30" fmla="*/ 822325 h 1222375"/>
                  <a:gd name="connsiteX31" fmla="*/ 1181100 w 1181100"/>
                  <a:gd name="connsiteY31" fmla="*/ 800100 h 1222375"/>
                  <a:gd name="connsiteX32" fmla="*/ 1181100 w 1181100"/>
                  <a:gd name="connsiteY32" fmla="*/ 720725 h 1222375"/>
                  <a:gd name="connsiteX33" fmla="*/ 1130300 w 1181100"/>
                  <a:gd name="connsiteY33" fmla="*/ 638175 h 1222375"/>
                  <a:gd name="connsiteX34" fmla="*/ 1098550 w 1181100"/>
                  <a:gd name="connsiteY34" fmla="*/ 596900 h 1222375"/>
                  <a:gd name="connsiteX35" fmla="*/ 1104900 w 1181100"/>
                  <a:gd name="connsiteY35" fmla="*/ 501650 h 1222375"/>
                  <a:gd name="connsiteX36" fmla="*/ 1019175 w 1181100"/>
                  <a:gd name="connsiteY36" fmla="*/ 479425 h 1222375"/>
                  <a:gd name="connsiteX37" fmla="*/ 1050925 w 1181100"/>
                  <a:gd name="connsiteY37" fmla="*/ 307975 h 1222375"/>
                  <a:gd name="connsiteX38" fmla="*/ 1016000 w 1181100"/>
                  <a:gd name="connsiteY38" fmla="*/ 187325 h 1222375"/>
                  <a:gd name="connsiteX39" fmla="*/ 952500 w 1181100"/>
                  <a:gd name="connsiteY39" fmla="*/ 127000 h 1222375"/>
                  <a:gd name="connsiteX40" fmla="*/ 984250 w 1181100"/>
                  <a:gd name="connsiteY40" fmla="*/ 76200 h 1222375"/>
                  <a:gd name="connsiteX41" fmla="*/ 930275 w 1181100"/>
                  <a:gd name="connsiteY41" fmla="*/ 53975 h 1222375"/>
                  <a:gd name="connsiteX42" fmla="*/ 796925 w 1181100"/>
                  <a:gd name="connsiteY42" fmla="*/ 47625 h 1222375"/>
                  <a:gd name="connsiteX43" fmla="*/ 733425 w 1181100"/>
                  <a:gd name="connsiteY43" fmla="*/ 0 h 1222375"/>
                  <a:gd name="connsiteX44" fmla="*/ 609600 w 1181100"/>
                  <a:gd name="connsiteY44" fmla="*/ 22225 h 1222375"/>
                  <a:gd name="connsiteX45" fmla="*/ 546100 w 1181100"/>
                  <a:gd name="connsiteY45" fmla="*/ 92075 h 1222375"/>
                  <a:gd name="connsiteX46" fmla="*/ 374650 w 1181100"/>
                  <a:gd name="connsiteY46" fmla="*/ 107950 h 1222375"/>
                  <a:gd name="connsiteX47" fmla="*/ 95250 w 1181100"/>
                  <a:gd name="connsiteY47" fmla="*/ 95250 h 1222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181100" h="1222375">
                    <a:moveTo>
                      <a:pt x="95250" y="95250"/>
                    </a:moveTo>
                    <a:lnTo>
                      <a:pt x="15875" y="123825"/>
                    </a:lnTo>
                    <a:lnTo>
                      <a:pt x="47625" y="212725"/>
                    </a:lnTo>
                    <a:lnTo>
                      <a:pt x="0" y="225425"/>
                    </a:lnTo>
                    <a:lnTo>
                      <a:pt x="9525" y="250825"/>
                    </a:lnTo>
                    <a:lnTo>
                      <a:pt x="79375" y="250825"/>
                    </a:lnTo>
                    <a:lnTo>
                      <a:pt x="107950" y="358775"/>
                    </a:lnTo>
                    <a:lnTo>
                      <a:pt x="152400" y="377825"/>
                    </a:lnTo>
                    <a:lnTo>
                      <a:pt x="200025" y="330200"/>
                    </a:lnTo>
                    <a:lnTo>
                      <a:pt x="342900" y="492125"/>
                    </a:lnTo>
                    <a:lnTo>
                      <a:pt x="355600" y="520700"/>
                    </a:lnTo>
                    <a:lnTo>
                      <a:pt x="323850" y="558800"/>
                    </a:lnTo>
                    <a:lnTo>
                      <a:pt x="412750" y="565150"/>
                    </a:lnTo>
                    <a:lnTo>
                      <a:pt x="460375" y="628650"/>
                    </a:lnTo>
                    <a:lnTo>
                      <a:pt x="457200" y="682625"/>
                    </a:lnTo>
                    <a:lnTo>
                      <a:pt x="438150" y="752475"/>
                    </a:lnTo>
                    <a:lnTo>
                      <a:pt x="504825" y="819150"/>
                    </a:lnTo>
                    <a:lnTo>
                      <a:pt x="549275" y="847725"/>
                    </a:lnTo>
                    <a:lnTo>
                      <a:pt x="606425" y="774700"/>
                    </a:lnTo>
                    <a:lnTo>
                      <a:pt x="641350" y="787400"/>
                    </a:lnTo>
                    <a:lnTo>
                      <a:pt x="682625" y="844550"/>
                    </a:lnTo>
                    <a:lnTo>
                      <a:pt x="714375" y="828675"/>
                    </a:lnTo>
                    <a:lnTo>
                      <a:pt x="730250" y="942975"/>
                    </a:lnTo>
                    <a:lnTo>
                      <a:pt x="676275" y="1019175"/>
                    </a:lnTo>
                    <a:lnTo>
                      <a:pt x="806450" y="1089025"/>
                    </a:lnTo>
                    <a:lnTo>
                      <a:pt x="946150" y="1222375"/>
                    </a:lnTo>
                    <a:lnTo>
                      <a:pt x="958850" y="1092200"/>
                    </a:lnTo>
                    <a:lnTo>
                      <a:pt x="996950" y="1063625"/>
                    </a:lnTo>
                    <a:lnTo>
                      <a:pt x="1016000" y="955675"/>
                    </a:lnTo>
                    <a:lnTo>
                      <a:pt x="1063625" y="933450"/>
                    </a:lnTo>
                    <a:lnTo>
                      <a:pt x="1133475" y="822325"/>
                    </a:lnTo>
                    <a:lnTo>
                      <a:pt x="1181100" y="800100"/>
                    </a:lnTo>
                    <a:lnTo>
                      <a:pt x="1181100" y="720725"/>
                    </a:lnTo>
                    <a:lnTo>
                      <a:pt x="1130300" y="638175"/>
                    </a:lnTo>
                    <a:lnTo>
                      <a:pt x="1098550" y="596900"/>
                    </a:lnTo>
                    <a:lnTo>
                      <a:pt x="1104900" y="501650"/>
                    </a:lnTo>
                    <a:lnTo>
                      <a:pt x="1019175" y="479425"/>
                    </a:lnTo>
                    <a:lnTo>
                      <a:pt x="1050925" y="307975"/>
                    </a:lnTo>
                    <a:lnTo>
                      <a:pt x="1016000" y="187325"/>
                    </a:lnTo>
                    <a:lnTo>
                      <a:pt x="952500" y="127000"/>
                    </a:lnTo>
                    <a:lnTo>
                      <a:pt x="984250" y="76200"/>
                    </a:lnTo>
                    <a:lnTo>
                      <a:pt x="930275" y="53975"/>
                    </a:lnTo>
                    <a:lnTo>
                      <a:pt x="796925" y="47625"/>
                    </a:lnTo>
                    <a:lnTo>
                      <a:pt x="733425" y="0"/>
                    </a:lnTo>
                    <a:lnTo>
                      <a:pt x="609600" y="22225"/>
                    </a:lnTo>
                    <a:lnTo>
                      <a:pt x="546100" y="92075"/>
                    </a:lnTo>
                    <a:lnTo>
                      <a:pt x="374650" y="107950"/>
                    </a:lnTo>
                    <a:lnTo>
                      <a:pt x="95250" y="9525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7" name="Freeform 216"/>
              <p:cNvSpPr/>
              <p:nvPr/>
            </p:nvSpPr>
            <p:spPr>
              <a:xfrm>
                <a:off x="4758784" y="2901581"/>
                <a:ext cx="451113" cy="443256"/>
              </a:xfrm>
              <a:custGeom>
                <a:avLst/>
                <a:gdLst>
                  <a:gd name="connsiteX0" fmla="*/ 165100 w 793750"/>
                  <a:gd name="connsiteY0" fmla="*/ 0 h 755650"/>
                  <a:gd name="connsiteX1" fmla="*/ 396875 w 793750"/>
                  <a:gd name="connsiteY1" fmla="*/ 98425 h 755650"/>
                  <a:gd name="connsiteX2" fmla="*/ 403225 w 793750"/>
                  <a:gd name="connsiteY2" fmla="*/ 193675 h 755650"/>
                  <a:gd name="connsiteX3" fmla="*/ 508000 w 793750"/>
                  <a:gd name="connsiteY3" fmla="*/ 260350 h 755650"/>
                  <a:gd name="connsiteX4" fmla="*/ 561975 w 793750"/>
                  <a:gd name="connsiteY4" fmla="*/ 346075 h 755650"/>
                  <a:gd name="connsiteX5" fmla="*/ 619125 w 793750"/>
                  <a:gd name="connsiteY5" fmla="*/ 361950 h 755650"/>
                  <a:gd name="connsiteX6" fmla="*/ 749300 w 793750"/>
                  <a:gd name="connsiteY6" fmla="*/ 352425 h 755650"/>
                  <a:gd name="connsiteX7" fmla="*/ 793750 w 793750"/>
                  <a:gd name="connsiteY7" fmla="*/ 434975 h 755650"/>
                  <a:gd name="connsiteX8" fmla="*/ 765175 w 793750"/>
                  <a:gd name="connsiteY8" fmla="*/ 555625 h 755650"/>
                  <a:gd name="connsiteX9" fmla="*/ 787400 w 793750"/>
                  <a:gd name="connsiteY9" fmla="*/ 625475 h 755650"/>
                  <a:gd name="connsiteX10" fmla="*/ 736600 w 793750"/>
                  <a:gd name="connsiteY10" fmla="*/ 685800 h 755650"/>
                  <a:gd name="connsiteX11" fmla="*/ 679450 w 793750"/>
                  <a:gd name="connsiteY11" fmla="*/ 695325 h 755650"/>
                  <a:gd name="connsiteX12" fmla="*/ 685800 w 793750"/>
                  <a:gd name="connsiteY12" fmla="*/ 752475 h 755650"/>
                  <a:gd name="connsiteX13" fmla="*/ 606425 w 793750"/>
                  <a:gd name="connsiteY13" fmla="*/ 711200 h 755650"/>
                  <a:gd name="connsiteX14" fmla="*/ 587375 w 793750"/>
                  <a:gd name="connsiteY14" fmla="*/ 695325 h 755650"/>
                  <a:gd name="connsiteX15" fmla="*/ 495300 w 793750"/>
                  <a:gd name="connsiteY15" fmla="*/ 727075 h 755650"/>
                  <a:gd name="connsiteX16" fmla="*/ 434975 w 793750"/>
                  <a:gd name="connsiteY16" fmla="*/ 708025 h 755650"/>
                  <a:gd name="connsiteX17" fmla="*/ 292100 w 793750"/>
                  <a:gd name="connsiteY17" fmla="*/ 755650 h 755650"/>
                  <a:gd name="connsiteX18" fmla="*/ 234950 w 793750"/>
                  <a:gd name="connsiteY18" fmla="*/ 717550 h 755650"/>
                  <a:gd name="connsiteX19" fmla="*/ 222250 w 793750"/>
                  <a:gd name="connsiteY19" fmla="*/ 654050 h 755650"/>
                  <a:gd name="connsiteX20" fmla="*/ 184150 w 793750"/>
                  <a:gd name="connsiteY20" fmla="*/ 606425 h 755650"/>
                  <a:gd name="connsiteX21" fmla="*/ 117475 w 793750"/>
                  <a:gd name="connsiteY21" fmla="*/ 546100 h 755650"/>
                  <a:gd name="connsiteX22" fmla="*/ 117475 w 793750"/>
                  <a:gd name="connsiteY22" fmla="*/ 454025 h 755650"/>
                  <a:gd name="connsiteX23" fmla="*/ 0 w 793750"/>
                  <a:gd name="connsiteY23" fmla="*/ 333375 h 755650"/>
                  <a:gd name="connsiteX24" fmla="*/ 85725 w 793750"/>
                  <a:gd name="connsiteY24" fmla="*/ 257175 h 755650"/>
                  <a:gd name="connsiteX25" fmla="*/ 98425 w 793750"/>
                  <a:gd name="connsiteY25" fmla="*/ 47625 h 755650"/>
                  <a:gd name="connsiteX26" fmla="*/ 165100 w 793750"/>
                  <a:gd name="connsiteY26" fmla="*/ 0 h 75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793750" h="755650">
                    <a:moveTo>
                      <a:pt x="165100" y="0"/>
                    </a:moveTo>
                    <a:lnTo>
                      <a:pt x="396875" y="98425"/>
                    </a:lnTo>
                    <a:lnTo>
                      <a:pt x="403225" y="193675"/>
                    </a:lnTo>
                    <a:lnTo>
                      <a:pt x="508000" y="260350"/>
                    </a:lnTo>
                    <a:lnTo>
                      <a:pt x="561975" y="346075"/>
                    </a:lnTo>
                    <a:lnTo>
                      <a:pt x="619125" y="361950"/>
                    </a:lnTo>
                    <a:lnTo>
                      <a:pt x="749300" y="352425"/>
                    </a:lnTo>
                    <a:lnTo>
                      <a:pt x="793750" y="434975"/>
                    </a:lnTo>
                    <a:lnTo>
                      <a:pt x="765175" y="555625"/>
                    </a:lnTo>
                    <a:lnTo>
                      <a:pt x="787400" y="625475"/>
                    </a:lnTo>
                    <a:lnTo>
                      <a:pt x="736600" y="685800"/>
                    </a:lnTo>
                    <a:lnTo>
                      <a:pt x="679450" y="695325"/>
                    </a:lnTo>
                    <a:lnTo>
                      <a:pt x="685800" y="752475"/>
                    </a:lnTo>
                    <a:lnTo>
                      <a:pt x="606425" y="711200"/>
                    </a:lnTo>
                    <a:lnTo>
                      <a:pt x="587375" y="695325"/>
                    </a:lnTo>
                    <a:lnTo>
                      <a:pt x="495300" y="727075"/>
                    </a:lnTo>
                    <a:lnTo>
                      <a:pt x="434975" y="708025"/>
                    </a:lnTo>
                    <a:lnTo>
                      <a:pt x="292100" y="755650"/>
                    </a:lnTo>
                    <a:lnTo>
                      <a:pt x="234950" y="717550"/>
                    </a:lnTo>
                    <a:lnTo>
                      <a:pt x="222250" y="654050"/>
                    </a:lnTo>
                    <a:lnTo>
                      <a:pt x="184150" y="606425"/>
                    </a:lnTo>
                    <a:lnTo>
                      <a:pt x="117475" y="546100"/>
                    </a:lnTo>
                    <a:lnTo>
                      <a:pt x="117475" y="454025"/>
                    </a:lnTo>
                    <a:lnTo>
                      <a:pt x="0" y="333375"/>
                    </a:lnTo>
                    <a:lnTo>
                      <a:pt x="85725" y="257175"/>
                    </a:lnTo>
                    <a:lnTo>
                      <a:pt x="98425" y="47625"/>
                    </a:lnTo>
                    <a:lnTo>
                      <a:pt x="165100" y="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8" name="Freeform 217"/>
              <p:cNvSpPr/>
              <p:nvPr/>
            </p:nvSpPr>
            <p:spPr>
              <a:xfrm>
                <a:off x="4987948" y="2855023"/>
                <a:ext cx="447503" cy="648125"/>
              </a:xfrm>
              <a:custGeom>
                <a:avLst/>
                <a:gdLst>
                  <a:gd name="connsiteX0" fmla="*/ 0 w 787400"/>
                  <a:gd name="connsiteY0" fmla="*/ 184150 h 1104900"/>
                  <a:gd name="connsiteX1" fmla="*/ 158750 w 787400"/>
                  <a:gd name="connsiteY1" fmla="*/ 149225 h 1104900"/>
                  <a:gd name="connsiteX2" fmla="*/ 203200 w 787400"/>
                  <a:gd name="connsiteY2" fmla="*/ 0 h 1104900"/>
                  <a:gd name="connsiteX3" fmla="*/ 273050 w 787400"/>
                  <a:gd name="connsiteY3" fmla="*/ 57150 h 1104900"/>
                  <a:gd name="connsiteX4" fmla="*/ 457200 w 787400"/>
                  <a:gd name="connsiteY4" fmla="*/ 38100 h 1104900"/>
                  <a:gd name="connsiteX5" fmla="*/ 669925 w 787400"/>
                  <a:gd name="connsiteY5" fmla="*/ 69850 h 1104900"/>
                  <a:gd name="connsiteX6" fmla="*/ 746125 w 787400"/>
                  <a:gd name="connsiteY6" fmla="*/ 165100 h 1104900"/>
                  <a:gd name="connsiteX7" fmla="*/ 787400 w 787400"/>
                  <a:gd name="connsiteY7" fmla="*/ 247650 h 1104900"/>
                  <a:gd name="connsiteX8" fmla="*/ 571500 w 787400"/>
                  <a:gd name="connsiteY8" fmla="*/ 314325 h 1104900"/>
                  <a:gd name="connsiteX9" fmla="*/ 666750 w 787400"/>
                  <a:gd name="connsiteY9" fmla="*/ 488950 h 1104900"/>
                  <a:gd name="connsiteX10" fmla="*/ 622300 w 787400"/>
                  <a:gd name="connsiteY10" fmla="*/ 533400 h 1104900"/>
                  <a:gd name="connsiteX11" fmla="*/ 622300 w 787400"/>
                  <a:gd name="connsiteY11" fmla="*/ 654050 h 1104900"/>
                  <a:gd name="connsiteX12" fmla="*/ 673100 w 787400"/>
                  <a:gd name="connsiteY12" fmla="*/ 742950 h 1104900"/>
                  <a:gd name="connsiteX13" fmla="*/ 628650 w 787400"/>
                  <a:gd name="connsiteY13" fmla="*/ 809625 h 1104900"/>
                  <a:gd name="connsiteX14" fmla="*/ 660400 w 787400"/>
                  <a:gd name="connsiteY14" fmla="*/ 838200 h 1104900"/>
                  <a:gd name="connsiteX15" fmla="*/ 660400 w 787400"/>
                  <a:gd name="connsiteY15" fmla="*/ 996950 h 1104900"/>
                  <a:gd name="connsiteX16" fmla="*/ 733425 w 787400"/>
                  <a:gd name="connsiteY16" fmla="*/ 1022350 h 1104900"/>
                  <a:gd name="connsiteX17" fmla="*/ 669925 w 787400"/>
                  <a:gd name="connsiteY17" fmla="*/ 1085850 h 1104900"/>
                  <a:gd name="connsiteX18" fmla="*/ 542925 w 787400"/>
                  <a:gd name="connsiteY18" fmla="*/ 1095375 h 1104900"/>
                  <a:gd name="connsiteX19" fmla="*/ 460375 w 787400"/>
                  <a:gd name="connsiteY19" fmla="*/ 1047750 h 1104900"/>
                  <a:gd name="connsiteX20" fmla="*/ 317500 w 787400"/>
                  <a:gd name="connsiteY20" fmla="*/ 1104900 h 1104900"/>
                  <a:gd name="connsiteX21" fmla="*/ 336550 w 787400"/>
                  <a:gd name="connsiteY21" fmla="*/ 1006475 h 1104900"/>
                  <a:gd name="connsiteX22" fmla="*/ 352425 w 787400"/>
                  <a:gd name="connsiteY22" fmla="*/ 904875 h 1104900"/>
                  <a:gd name="connsiteX23" fmla="*/ 282575 w 787400"/>
                  <a:gd name="connsiteY23" fmla="*/ 828675 h 1104900"/>
                  <a:gd name="connsiteX24" fmla="*/ 279400 w 787400"/>
                  <a:gd name="connsiteY24" fmla="*/ 777875 h 1104900"/>
                  <a:gd name="connsiteX25" fmla="*/ 330200 w 787400"/>
                  <a:gd name="connsiteY25" fmla="*/ 752475 h 1104900"/>
                  <a:gd name="connsiteX26" fmla="*/ 381000 w 787400"/>
                  <a:gd name="connsiteY26" fmla="*/ 704850 h 1104900"/>
                  <a:gd name="connsiteX27" fmla="*/ 355600 w 787400"/>
                  <a:gd name="connsiteY27" fmla="*/ 631825 h 1104900"/>
                  <a:gd name="connsiteX28" fmla="*/ 387350 w 787400"/>
                  <a:gd name="connsiteY28" fmla="*/ 508000 h 1104900"/>
                  <a:gd name="connsiteX29" fmla="*/ 336550 w 787400"/>
                  <a:gd name="connsiteY29" fmla="*/ 428625 h 1104900"/>
                  <a:gd name="connsiteX30" fmla="*/ 228600 w 787400"/>
                  <a:gd name="connsiteY30" fmla="*/ 431800 h 1104900"/>
                  <a:gd name="connsiteX31" fmla="*/ 139700 w 787400"/>
                  <a:gd name="connsiteY31" fmla="*/ 415925 h 1104900"/>
                  <a:gd name="connsiteX32" fmla="*/ 111125 w 787400"/>
                  <a:gd name="connsiteY32" fmla="*/ 349250 h 1104900"/>
                  <a:gd name="connsiteX33" fmla="*/ 3175 w 787400"/>
                  <a:gd name="connsiteY33" fmla="*/ 273050 h 1104900"/>
                  <a:gd name="connsiteX34" fmla="*/ 0 w 787400"/>
                  <a:gd name="connsiteY34" fmla="*/ 184150 h 110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87400" h="1104900">
                    <a:moveTo>
                      <a:pt x="0" y="184150"/>
                    </a:moveTo>
                    <a:lnTo>
                      <a:pt x="158750" y="149225"/>
                    </a:lnTo>
                    <a:lnTo>
                      <a:pt x="203200" y="0"/>
                    </a:lnTo>
                    <a:lnTo>
                      <a:pt x="273050" y="57150"/>
                    </a:lnTo>
                    <a:lnTo>
                      <a:pt x="457200" y="38100"/>
                    </a:lnTo>
                    <a:lnTo>
                      <a:pt x="669925" y="69850"/>
                    </a:lnTo>
                    <a:lnTo>
                      <a:pt x="746125" y="165100"/>
                    </a:lnTo>
                    <a:lnTo>
                      <a:pt x="787400" y="247650"/>
                    </a:lnTo>
                    <a:lnTo>
                      <a:pt x="571500" y="314325"/>
                    </a:lnTo>
                    <a:lnTo>
                      <a:pt x="666750" y="488950"/>
                    </a:lnTo>
                    <a:lnTo>
                      <a:pt x="622300" y="533400"/>
                    </a:lnTo>
                    <a:lnTo>
                      <a:pt x="622300" y="654050"/>
                    </a:lnTo>
                    <a:lnTo>
                      <a:pt x="673100" y="742950"/>
                    </a:lnTo>
                    <a:lnTo>
                      <a:pt x="628650" y="809625"/>
                    </a:lnTo>
                    <a:lnTo>
                      <a:pt x="660400" y="838200"/>
                    </a:lnTo>
                    <a:lnTo>
                      <a:pt x="660400" y="996950"/>
                    </a:lnTo>
                    <a:lnTo>
                      <a:pt x="733425" y="1022350"/>
                    </a:lnTo>
                    <a:lnTo>
                      <a:pt x="669925" y="1085850"/>
                    </a:lnTo>
                    <a:lnTo>
                      <a:pt x="542925" y="1095375"/>
                    </a:lnTo>
                    <a:lnTo>
                      <a:pt x="460375" y="1047750"/>
                    </a:lnTo>
                    <a:lnTo>
                      <a:pt x="317500" y="1104900"/>
                    </a:lnTo>
                    <a:lnTo>
                      <a:pt x="336550" y="1006475"/>
                    </a:lnTo>
                    <a:lnTo>
                      <a:pt x="352425" y="904875"/>
                    </a:lnTo>
                    <a:lnTo>
                      <a:pt x="282575" y="828675"/>
                    </a:lnTo>
                    <a:lnTo>
                      <a:pt x="279400" y="777875"/>
                    </a:lnTo>
                    <a:lnTo>
                      <a:pt x="330200" y="752475"/>
                    </a:lnTo>
                    <a:lnTo>
                      <a:pt x="381000" y="704850"/>
                    </a:lnTo>
                    <a:lnTo>
                      <a:pt x="355600" y="631825"/>
                    </a:lnTo>
                    <a:lnTo>
                      <a:pt x="387350" y="508000"/>
                    </a:lnTo>
                    <a:lnTo>
                      <a:pt x="336550" y="428625"/>
                    </a:lnTo>
                    <a:lnTo>
                      <a:pt x="228600" y="431800"/>
                    </a:lnTo>
                    <a:lnTo>
                      <a:pt x="139700" y="415925"/>
                    </a:lnTo>
                    <a:lnTo>
                      <a:pt x="111125" y="349250"/>
                    </a:lnTo>
                    <a:lnTo>
                      <a:pt x="3175" y="273050"/>
                    </a:lnTo>
                    <a:lnTo>
                      <a:pt x="0" y="18415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19" name="Freeform 218"/>
              <p:cNvSpPr/>
              <p:nvPr/>
            </p:nvSpPr>
            <p:spPr>
              <a:xfrm>
                <a:off x="4717280" y="3221920"/>
                <a:ext cx="474569" cy="495405"/>
              </a:xfrm>
              <a:custGeom>
                <a:avLst/>
                <a:gdLst>
                  <a:gd name="connsiteX0" fmla="*/ 136525 w 835025"/>
                  <a:gd name="connsiteY0" fmla="*/ 41275 h 844550"/>
                  <a:gd name="connsiteX1" fmla="*/ 177800 w 835025"/>
                  <a:gd name="connsiteY1" fmla="*/ 0 h 844550"/>
                  <a:gd name="connsiteX2" fmla="*/ 292100 w 835025"/>
                  <a:gd name="connsiteY2" fmla="*/ 114300 h 844550"/>
                  <a:gd name="connsiteX3" fmla="*/ 307975 w 835025"/>
                  <a:gd name="connsiteY3" fmla="*/ 187325 h 844550"/>
                  <a:gd name="connsiteX4" fmla="*/ 365125 w 835025"/>
                  <a:gd name="connsiteY4" fmla="*/ 215900 h 844550"/>
                  <a:gd name="connsiteX5" fmla="*/ 514350 w 835025"/>
                  <a:gd name="connsiteY5" fmla="*/ 161925 h 844550"/>
                  <a:gd name="connsiteX6" fmla="*/ 561975 w 835025"/>
                  <a:gd name="connsiteY6" fmla="*/ 184150 h 844550"/>
                  <a:gd name="connsiteX7" fmla="*/ 663575 w 835025"/>
                  <a:gd name="connsiteY7" fmla="*/ 139700 h 844550"/>
                  <a:gd name="connsiteX8" fmla="*/ 774700 w 835025"/>
                  <a:gd name="connsiteY8" fmla="*/ 206375 h 844550"/>
                  <a:gd name="connsiteX9" fmla="*/ 835025 w 835025"/>
                  <a:gd name="connsiteY9" fmla="*/ 295275 h 844550"/>
                  <a:gd name="connsiteX10" fmla="*/ 800100 w 835025"/>
                  <a:gd name="connsiteY10" fmla="*/ 466725 h 844550"/>
                  <a:gd name="connsiteX11" fmla="*/ 793750 w 835025"/>
                  <a:gd name="connsiteY11" fmla="*/ 555625 h 844550"/>
                  <a:gd name="connsiteX12" fmla="*/ 835025 w 835025"/>
                  <a:gd name="connsiteY12" fmla="*/ 638175 h 844550"/>
                  <a:gd name="connsiteX13" fmla="*/ 739775 w 835025"/>
                  <a:gd name="connsiteY13" fmla="*/ 685800 h 844550"/>
                  <a:gd name="connsiteX14" fmla="*/ 698500 w 835025"/>
                  <a:gd name="connsiteY14" fmla="*/ 841375 h 844550"/>
                  <a:gd name="connsiteX15" fmla="*/ 514350 w 835025"/>
                  <a:gd name="connsiteY15" fmla="*/ 844550 h 844550"/>
                  <a:gd name="connsiteX16" fmla="*/ 441325 w 835025"/>
                  <a:gd name="connsiteY16" fmla="*/ 793750 h 844550"/>
                  <a:gd name="connsiteX17" fmla="*/ 454025 w 835025"/>
                  <a:gd name="connsiteY17" fmla="*/ 593725 h 844550"/>
                  <a:gd name="connsiteX18" fmla="*/ 450850 w 835025"/>
                  <a:gd name="connsiteY18" fmla="*/ 517525 h 844550"/>
                  <a:gd name="connsiteX19" fmla="*/ 346075 w 835025"/>
                  <a:gd name="connsiteY19" fmla="*/ 495300 h 844550"/>
                  <a:gd name="connsiteX20" fmla="*/ 320675 w 835025"/>
                  <a:gd name="connsiteY20" fmla="*/ 565150 h 844550"/>
                  <a:gd name="connsiteX21" fmla="*/ 209550 w 835025"/>
                  <a:gd name="connsiteY21" fmla="*/ 508000 h 844550"/>
                  <a:gd name="connsiteX22" fmla="*/ 171450 w 835025"/>
                  <a:gd name="connsiteY22" fmla="*/ 425450 h 844550"/>
                  <a:gd name="connsiteX23" fmla="*/ 142875 w 835025"/>
                  <a:gd name="connsiteY23" fmla="*/ 454025 h 844550"/>
                  <a:gd name="connsiteX24" fmla="*/ 92075 w 835025"/>
                  <a:gd name="connsiteY24" fmla="*/ 444500 h 844550"/>
                  <a:gd name="connsiteX25" fmla="*/ 44450 w 835025"/>
                  <a:gd name="connsiteY25" fmla="*/ 463550 h 844550"/>
                  <a:gd name="connsiteX26" fmla="*/ 53975 w 835025"/>
                  <a:gd name="connsiteY26" fmla="*/ 387350 h 844550"/>
                  <a:gd name="connsiteX27" fmla="*/ 3175 w 835025"/>
                  <a:gd name="connsiteY27" fmla="*/ 327025 h 844550"/>
                  <a:gd name="connsiteX28" fmla="*/ 0 w 835025"/>
                  <a:gd name="connsiteY28" fmla="*/ 174625 h 844550"/>
                  <a:gd name="connsiteX29" fmla="*/ 114300 w 835025"/>
                  <a:gd name="connsiteY29" fmla="*/ 92075 h 844550"/>
                  <a:gd name="connsiteX30" fmla="*/ 136525 w 835025"/>
                  <a:gd name="connsiteY30" fmla="*/ 41275 h 844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835025" h="844550">
                    <a:moveTo>
                      <a:pt x="136525" y="41275"/>
                    </a:moveTo>
                    <a:lnTo>
                      <a:pt x="177800" y="0"/>
                    </a:lnTo>
                    <a:lnTo>
                      <a:pt x="292100" y="114300"/>
                    </a:lnTo>
                    <a:lnTo>
                      <a:pt x="307975" y="187325"/>
                    </a:lnTo>
                    <a:lnTo>
                      <a:pt x="365125" y="215900"/>
                    </a:lnTo>
                    <a:lnTo>
                      <a:pt x="514350" y="161925"/>
                    </a:lnTo>
                    <a:lnTo>
                      <a:pt x="561975" y="184150"/>
                    </a:lnTo>
                    <a:lnTo>
                      <a:pt x="663575" y="139700"/>
                    </a:lnTo>
                    <a:lnTo>
                      <a:pt x="774700" y="206375"/>
                    </a:lnTo>
                    <a:lnTo>
                      <a:pt x="835025" y="295275"/>
                    </a:lnTo>
                    <a:lnTo>
                      <a:pt x="800100" y="466725"/>
                    </a:lnTo>
                    <a:lnTo>
                      <a:pt x="793750" y="555625"/>
                    </a:lnTo>
                    <a:lnTo>
                      <a:pt x="835025" y="638175"/>
                    </a:lnTo>
                    <a:lnTo>
                      <a:pt x="739775" y="685800"/>
                    </a:lnTo>
                    <a:lnTo>
                      <a:pt x="698500" y="841375"/>
                    </a:lnTo>
                    <a:lnTo>
                      <a:pt x="514350" y="844550"/>
                    </a:lnTo>
                    <a:lnTo>
                      <a:pt x="441325" y="793750"/>
                    </a:lnTo>
                    <a:lnTo>
                      <a:pt x="454025" y="593725"/>
                    </a:lnTo>
                    <a:lnTo>
                      <a:pt x="450850" y="517525"/>
                    </a:lnTo>
                    <a:lnTo>
                      <a:pt x="346075" y="495300"/>
                    </a:lnTo>
                    <a:lnTo>
                      <a:pt x="320675" y="565150"/>
                    </a:lnTo>
                    <a:lnTo>
                      <a:pt x="209550" y="508000"/>
                    </a:lnTo>
                    <a:lnTo>
                      <a:pt x="171450" y="425450"/>
                    </a:lnTo>
                    <a:lnTo>
                      <a:pt x="142875" y="454025"/>
                    </a:lnTo>
                    <a:lnTo>
                      <a:pt x="92075" y="444500"/>
                    </a:lnTo>
                    <a:lnTo>
                      <a:pt x="44450" y="463550"/>
                    </a:lnTo>
                    <a:lnTo>
                      <a:pt x="53975" y="387350"/>
                    </a:lnTo>
                    <a:lnTo>
                      <a:pt x="3175" y="327025"/>
                    </a:lnTo>
                    <a:cubicBezTo>
                      <a:pt x="2117" y="276225"/>
                      <a:pt x="1058" y="225425"/>
                      <a:pt x="0" y="174625"/>
                    </a:cubicBezTo>
                    <a:lnTo>
                      <a:pt x="114300" y="92075"/>
                    </a:lnTo>
                    <a:lnTo>
                      <a:pt x="136525" y="41275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20" name="Freeform 219"/>
              <p:cNvSpPr/>
              <p:nvPr/>
            </p:nvSpPr>
            <p:spPr>
              <a:xfrm>
                <a:off x="4717280" y="3512460"/>
                <a:ext cx="364498" cy="495405"/>
              </a:xfrm>
              <a:custGeom>
                <a:avLst/>
                <a:gdLst>
                  <a:gd name="connsiteX0" fmla="*/ 304800 w 641350"/>
                  <a:gd name="connsiteY0" fmla="*/ 768350 h 844550"/>
                  <a:gd name="connsiteX1" fmla="*/ 415925 w 641350"/>
                  <a:gd name="connsiteY1" fmla="*/ 844550 h 844550"/>
                  <a:gd name="connsiteX2" fmla="*/ 485775 w 641350"/>
                  <a:gd name="connsiteY2" fmla="*/ 796925 h 844550"/>
                  <a:gd name="connsiteX3" fmla="*/ 517525 w 641350"/>
                  <a:gd name="connsiteY3" fmla="*/ 774700 h 844550"/>
                  <a:gd name="connsiteX4" fmla="*/ 504825 w 641350"/>
                  <a:gd name="connsiteY4" fmla="*/ 676275 h 844550"/>
                  <a:gd name="connsiteX5" fmla="*/ 587375 w 641350"/>
                  <a:gd name="connsiteY5" fmla="*/ 568325 h 844550"/>
                  <a:gd name="connsiteX6" fmla="*/ 558800 w 641350"/>
                  <a:gd name="connsiteY6" fmla="*/ 495300 h 844550"/>
                  <a:gd name="connsiteX7" fmla="*/ 641350 w 641350"/>
                  <a:gd name="connsiteY7" fmla="*/ 450850 h 844550"/>
                  <a:gd name="connsiteX8" fmla="*/ 514350 w 641350"/>
                  <a:gd name="connsiteY8" fmla="*/ 355600 h 844550"/>
                  <a:gd name="connsiteX9" fmla="*/ 441325 w 641350"/>
                  <a:gd name="connsiteY9" fmla="*/ 311150 h 844550"/>
                  <a:gd name="connsiteX10" fmla="*/ 454025 w 641350"/>
                  <a:gd name="connsiteY10" fmla="*/ 98425 h 844550"/>
                  <a:gd name="connsiteX11" fmla="*/ 454025 w 641350"/>
                  <a:gd name="connsiteY11" fmla="*/ 31750 h 844550"/>
                  <a:gd name="connsiteX12" fmla="*/ 352425 w 641350"/>
                  <a:gd name="connsiteY12" fmla="*/ 0 h 844550"/>
                  <a:gd name="connsiteX13" fmla="*/ 320675 w 641350"/>
                  <a:gd name="connsiteY13" fmla="*/ 69850 h 844550"/>
                  <a:gd name="connsiteX14" fmla="*/ 82550 w 641350"/>
                  <a:gd name="connsiteY14" fmla="*/ 184150 h 844550"/>
                  <a:gd name="connsiteX15" fmla="*/ 57150 w 641350"/>
                  <a:gd name="connsiteY15" fmla="*/ 228600 h 844550"/>
                  <a:gd name="connsiteX16" fmla="*/ 76200 w 641350"/>
                  <a:gd name="connsiteY16" fmla="*/ 254000 h 844550"/>
                  <a:gd name="connsiteX17" fmla="*/ 0 w 641350"/>
                  <a:gd name="connsiteY17" fmla="*/ 482600 h 844550"/>
                  <a:gd name="connsiteX18" fmla="*/ 15875 w 641350"/>
                  <a:gd name="connsiteY18" fmla="*/ 581025 h 844550"/>
                  <a:gd name="connsiteX19" fmla="*/ 60325 w 641350"/>
                  <a:gd name="connsiteY19" fmla="*/ 628650 h 844550"/>
                  <a:gd name="connsiteX20" fmla="*/ 200025 w 641350"/>
                  <a:gd name="connsiteY20" fmla="*/ 631825 h 844550"/>
                  <a:gd name="connsiteX21" fmla="*/ 260350 w 641350"/>
                  <a:gd name="connsiteY21" fmla="*/ 666750 h 844550"/>
                  <a:gd name="connsiteX22" fmla="*/ 222250 w 641350"/>
                  <a:gd name="connsiteY22" fmla="*/ 714375 h 844550"/>
                  <a:gd name="connsiteX23" fmla="*/ 304800 w 641350"/>
                  <a:gd name="connsiteY23" fmla="*/ 768350 h 844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41350" h="844550">
                    <a:moveTo>
                      <a:pt x="304800" y="768350"/>
                    </a:moveTo>
                    <a:lnTo>
                      <a:pt x="415925" y="844550"/>
                    </a:lnTo>
                    <a:lnTo>
                      <a:pt x="485775" y="796925"/>
                    </a:lnTo>
                    <a:lnTo>
                      <a:pt x="517525" y="774700"/>
                    </a:lnTo>
                    <a:lnTo>
                      <a:pt x="504825" y="676275"/>
                    </a:lnTo>
                    <a:lnTo>
                      <a:pt x="587375" y="568325"/>
                    </a:lnTo>
                    <a:lnTo>
                      <a:pt x="558800" y="495300"/>
                    </a:lnTo>
                    <a:lnTo>
                      <a:pt x="641350" y="450850"/>
                    </a:lnTo>
                    <a:lnTo>
                      <a:pt x="514350" y="355600"/>
                    </a:lnTo>
                    <a:lnTo>
                      <a:pt x="441325" y="311150"/>
                    </a:lnTo>
                    <a:lnTo>
                      <a:pt x="454025" y="98425"/>
                    </a:lnTo>
                    <a:lnTo>
                      <a:pt x="454025" y="31750"/>
                    </a:lnTo>
                    <a:lnTo>
                      <a:pt x="352425" y="0"/>
                    </a:lnTo>
                    <a:lnTo>
                      <a:pt x="320675" y="69850"/>
                    </a:lnTo>
                    <a:lnTo>
                      <a:pt x="82550" y="184150"/>
                    </a:lnTo>
                    <a:lnTo>
                      <a:pt x="57150" y="228600"/>
                    </a:lnTo>
                    <a:lnTo>
                      <a:pt x="76200" y="254000"/>
                    </a:lnTo>
                    <a:lnTo>
                      <a:pt x="0" y="482600"/>
                    </a:lnTo>
                    <a:lnTo>
                      <a:pt x="15875" y="581025"/>
                    </a:lnTo>
                    <a:lnTo>
                      <a:pt x="60325" y="628650"/>
                    </a:lnTo>
                    <a:lnTo>
                      <a:pt x="200025" y="631825"/>
                    </a:lnTo>
                    <a:lnTo>
                      <a:pt x="260350" y="666750"/>
                    </a:lnTo>
                    <a:lnTo>
                      <a:pt x="222250" y="714375"/>
                    </a:lnTo>
                    <a:lnTo>
                      <a:pt x="304800" y="76835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21" name="Freeform 220"/>
              <p:cNvSpPr/>
              <p:nvPr/>
            </p:nvSpPr>
            <p:spPr>
              <a:xfrm>
                <a:off x="4876074" y="3849560"/>
                <a:ext cx="572011" cy="541966"/>
              </a:xfrm>
              <a:custGeom>
                <a:avLst/>
                <a:gdLst>
                  <a:gd name="connsiteX0" fmla="*/ 0 w 1006475"/>
                  <a:gd name="connsiteY0" fmla="*/ 203200 h 923925"/>
                  <a:gd name="connsiteX1" fmla="*/ 44450 w 1006475"/>
                  <a:gd name="connsiteY1" fmla="*/ 311150 h 923925"/>
                  <a:gd name="connsiteX2" fmla="*/ 0 w 1006475"/>
                  <a:gd name="connsiteY2" fmla="*/ 482600 h 923925"/>
                  <a:gd name="connsiteX3" fmla="*/ 92075 w 1006475"/>
                  <a:gd name="connsiteY3" fmla="*/ 511175 h 923925"/>
                  <a:gd name="connsiteX4" fmla="*/ 92075 w 1006475"/>
                  <a:gd name="connsiteY4" fmla="*/ 609600 h 923925"/>
                  <a:gd name="connsiteX5" fmla="*/ 171450 w 1006475"/>
                  <a:gd name="connsiteY5" fmla="*/ 733425 h 923925"/>
                  <a:gd name="connsiteX6" fmla="*/ 184150 w 1006475"/>
                  <a:gd name="connsiteY6" fmla="*/ 809625 h 923925"/>
                  <a:gd name="connsiteX7" fmla="*/ 260350 w 1006475"/>
                  <a:gd name="connsiteY7" fmla="*/ 904875 h 923925"/>
                  <a:gd name="connsiteX8" fmla="*/ 333375 w 1006475"/>
                  <a:gd name="connsiteY8" fmla="*/ 844550 h 923925"/>
                  <a:gd name="connsiteX9" fmla="*/ 390525 w 1006475"/>
                  <a:gd name="connsiteY9" fmla="*/ 796925 h 923925"/>
                  <a:gd name="connsiteX10" fmla="*/ 444500 w 1006475"/>
                  <a:gd name="connsiteY10" fmla="*/ 812800 h 923925"/>
                  <a:gd name="connsiteX11" fmla="*/ 454025 w 1006475"/>
                  <a:gd name="connsiteY11" fmla="*/ 882650 h 923925"/>
                  <a:gd name="connsiteX12" fmla="*/ 549275 w 1006475"/>
                  <a:gd name="connsiteY12" fmla="*/ 889000 h 923925"/>
                  <a:gd name="connsiteX13" fmla="*/ 622300 w 1006475"/>
                  <a:gd name="connsiteY13" fmla="*/ 882650 h 923925"/>
                  <a:gd name="connsiteX14" fmla="*/ 635000 w 1006475"/>
                  <a:gd name="connsiteY14" fmla="*/ 923925 h 923925"/>
                  <a:gd name="connsiteX15" fmla="*/ 625475 w 1006475"/>
                  <a:gd name="connsiteY15" fmla="*/ 825500 h 923925"/>
                  <a:gd name="connsiteX16" fmla="*/ 654050 w 1006475"/>
                  <a:gd name="connsiteY16" fmla="*/ 739775 h 923925"/>
                  <a:gd name="connsiteX17" fmla="*/ 771525 w 1006475"/>
                  <a:gd name="connsiteY17" fmla="*/ 781050 h 923925"/>
                  <a:gd name="connsiteX18" fmla="*/ 838200 w 1006475"/>
                  <a:gd name="connsiteY18" fmla="*/ 806450 h 923925"/>
                  <a:gd name="connsiteX19" fmla="*/ 847725 w 1006475"/>
                  <a:gd name="connsiteY19" fmla="*/ 723900 h 923925"/>
                  <a:gd name="connsiteX20" fmla="*/ 873125 w 1006475"/>
                  <a:gd name="connsiteY20" fmla="*/ 654050 h 923925"/>
                  <a:gd name="connsiteX21" fmla="*/ 908050 w 1006475"/>
                  <a:gd name="connsiteY21" fmla="*/ 536575 h 923925"/>
                  <a:gd name="connsiteX22" fmla="*/ 895350 w 1006475"/>
                  <a:gd name="connsiteY22" fmla="*/ 485775 h 923925"/>
                  <a:gd name="connsiteX23" fmla="*/ 917575 w 1006475"/>
                  <a:gd name="connsiteY23" fmla="*/ 438150 h 923925"/>
                  <a:gd name="connsiteX24" fmla="*/ 968375 w 1006475"/>
                  <a:gd name="connsiteY24" fmla="*/ 371475 h 923925"/>
                  <a:gd name="connsiteX25" fmla="*/ 981075 w 1006475"/>
                  <a:gd name="connsiteY25" fmla="*/ 311150 h 923925"/>
                  <a:gd name="connsiteX26" fmla="*/ 996950 w 1006475"/>
                  <a:gd name="connsiteY26" fmla="*/ 244475 h 923925"/>
                  <a:gd name="connsiteX27" fmla="*/ 1006475 w 1006475"/>
                  <a:gd name="connsiteY27" fmla="*/ 146050 h 923925"/>
                  <a:gd name="connsiteX28" fmla="*/ 981075 w 1006475"/>
                  <a:gd name="connsiteY28" fmla="*/ 120650 h 923925"/>
                  <a:gd name="connsiteX29" fmla="*/ 784225 w 1006475"/>
                  <a:gd name="connsiteY29" fmla="*/ 79375 h 923925"/>
                  <a:gd name="connsiteX30" fmla="*/ 650875 w 1006475"/>
                  <a:gd name="connsiteY30" fmla="*/ 25400 h 923925"/>
                  <a:gd name="connsiteX31" fmla="*/ 307975 w 1006475"/>
                  <a:gd name="connsiteY31" fmla="*/ 0 h 923925"/>
                  <a:gd name="connsiteX32" fmla="*/ 215900 w 1006475"/>
                  <a:gd name="connsiteY32" fmla="*/ 98425 h 923925"/>
                  <a:gd name="connsiteX33" fmla="*/ 231775 w 1006475"/>
                  <a:gd name="connsiteY33" fmla="*/ 203200 h 923925"/>
                  <a:gd name="connsiteX34" fmla="*/ 139700 w 1006475"/>
                  <a:gd name="connsiteY34" fmla="*/ 269875 h 923925"/>
                  <a:gd name="connsiteX35" fmla="*/ 0 w 1006475"/>
                  <a:gd name="connsiteY35" fmla="*/ 203200 h 923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006475" h="923925">
                    <a:moveTo>
                      <a:pt x="0" y="203200"/>
                    </a:moveTo>
                    <a:lnTo>
                      <a:pt x="44450" y="311150"/>
                    </a:lnTo>
                    <a:lnTo>
                      <a:pt x="0" y="482600"/>
                    </a:lnTo>
                    <a:lnTo>
                      <a:pt x="92075" y="511175"/>
                    </a:lnTo>
                    <a:lnTo>
                      <a:pt x="92075" y="609600"/>
                    </a:lnTo>
                    <a:lnTo>
                      <a:pt x="171450" y="733425"/>
                    </a:lnTo>
                    <a:lnTo>
                      <a:pt x="184150" y="809625"/>
                    </a:lnTo>
                    <a:lnTo>
                      <a:pt x="260350" y="904875"/>
                    </a:lnTo>
                    <a:lnTo>
                      <a:pt x="333375" y="844550"/>
                    </a:lnTo>
                    <a:lnTo>
                      <a:pt x="390525" y="796925"/>
                    </a:lnTo>
                    <a:lnTo>
                      <a:pt x="444500" y="812800"/>
                    </a:lnTo>
                    <a:lnTo>
                      <a:pt x="454025" y="882650"/>
                    </a:lnTo>
                    <a:lnTo>
                      <a:pt x="549275" y="889000"/>
                    </a:lnTo>
                    <a:lnTo>
                      <a:pt x="622300" y="882650"/>
                    </a:lnTo>
                    <a:lnTo>
                      <a:pt x="635000" y="923925"/>
                    </a:lnTo>
                    <a:lnTo>
                      <a:pt x="625475" y="825500"/>
                    </a:lnTo>
                    <a:lnTo>
                      <a:pt x="654050" y="739775"/>
                    </a:lnTo>
                    <a:lnTo>
                      <a:pt x="771525" y="781050"/>
                    </a:lnTo>
                    <a:lnTo>
                      <a:pt x="838200" y="806450"/>
                    </a:lnTo>
                    <a:lnTo>
                      <a:pt x="847725" y="723900"/>
                    </a:lnTo>
                    <a:lnTo>
                      <a:pt x="873125" y="654050"/>
                    </a:lnTo>
                    <a:lnTo>
                      <a:pt x="908050" y="536575"/>
                    </a:lnTo>
                    <a:lnTo>
                      <a:pt x="895350" y="485775"/>
                    </a:lnTo>
                    <a:lnTo>
                      <a:pt x="917575" y="438150"/>
                    </a:lnTo>
                    <a:lnTo>
                      <a:pt x="968375" y="371475"/>
                    </a:lnTo>
                    <a:lnTo>
                      <a:pt x="981075" y="311150"/>
                    </a:lnTo>
                    <a:lnTo>
                      <a:pt x="996950" y="244475"/>
                    </a:lnTo>
                    <a:lnTo>
                      <a:pt x="1006475" y="146050"/>
                    </a:lnTo>
                    <a:lnTo>
                      <a:pt x="981075" y="120650"/>
                    </a:lnTo>
                    <a:lnTo>
                      <a:pt x="784225" y="79375"/>
                    </a:lnTo>
                    <a:lnTo>
                      <a:pt x="650875" y="25400"/>
                    </a:lnTo>
                    <a:lnTo>
                      <a:pt x="307975" y="0"/>
                    </a:lnTo>
                    <a:lnTo>
                      <a:pt x="215900" y="98425"/>
                    </a:lnTo>
                    <a:lnTo>
                      <a:pt x="231775" y="203200"/>
                    </a:lnTo>
                    <a:lnTo>
                      <a:pt x="139700" y="269875"/>
                    </a:lnTo>
                    <a:lnTo>
                      <a:pt x="0" y="2032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22" name="Freeform 221"/>
              <p:cNvSpPr/>
              <p:nvPr/>
            </p:nvSpPr>
            <p:spPr>
              <a:xfrm>
                <a:off x="5016822" y="3464034"/>
                <a:ext cx="777718" cy="471192"/>
              </a:xfrm>
              <a:custGeom>
                <a:avLst/>
                <a:gdLst>
                  <a:gd name="connsiteX0" fmla="*/ 0 w 1368425"/>
                  <a:gd name="connsiteY0" fmla="*/ 431800 h 803275"/>
                  <a:gd name="connsiteX1" fmla="*/ 117475 w 1368425"/>
                  <a:gd name="connsiteY1" fmla="*/ 546100 h 803275"/>
                  <a:gd name="connsiteX2" fmla="*/ 38100 w 1368425"/>
                  <a:gd name="connsiteY2" fmla="*/ 561975 h 803275"/>
                  <a:gd name="connsiteX3" fmla="*/ 66675 w 1368425"/>
                  <a:gd name="connsiteY3" fmla="*/ 654050 h 803275"/>
                  <a:gd name="connsiteX4" fmla="*/ 412750 w 1368425"/>
                  <a:gd name="connsiteY4" fmla="*/ 692150 h 803275"/>
                  <a:gd name="connsiteX5" fmla="*/ 549275 w 1368425"/>
                  <a:gd name="connsiteY5" fmla="*/ 733425 h 803275"/>
                  <a:gd name="connsiteX6" fmla="*/ 765175 w 1368425"/>
                  <a:gd name="connsiteY6" fmla="*/ 803275 h 803275"/>
                  <a:gd name="connsiteX7" fmla="*/ 835025 w 1368425"/>
                  <a:gd name="connsiteY7" fmla="*/ 673100 h 803275"/>
                  <a:gd name="connsiteX8" fmla="*/ 930275 w 1368425"/>
                  <a:gd name="connsiteY8" fmla="*/ 638175 h 803275"/>
                  <a:gd name="connsiteX9" fmla="*/ 993775 w 1368425"/>
                  <a:gd name="connsiteY9" fmla="*/ 676275 h 803275"/>
                  <a:gd name="connsiteX10" fmla="*/ 968375 w 1368425"/>
                  <a:gd name="connsiteY10" fmla="*/ 603250 h 803275"/>
                  <a:gd name="connsiteX11" fmla="*/ 1006475 w 1368425"/>
                  <a:gd name="connsiteY11" fmla="*/ 546100 h 803275"/>
                  <a:gd name="connsiteX12" fmla="*/ 1012825 w 1368425"/>
                  <a:gd name="connsiteY12" fmla="*/ 466725 h 803275"/>
                  <a:gd name="connsiteX13" fmla="*/ 1050925 w 1368425"/>
                  <a:gd name="connsiteY13" fmla="*/ 460375 h 803275"/>
                  <a:gd name="connsiteX14" fmla="*/ 1082675 w 1368425"/>
                  <a:gd name="connsiteY14" fmla="*/ 488950 h 803275"/>
                  <a:gd name="connsiteX15" fmla="*/ 1120775 w 1368425"/>
                  <a:gd name="connsiteY15" fmla="*/ 450850 h 803275"/>
                  <a:gd name="connsiteX16" fmla="*/ 1241425 w 1368425"/>
                  <a:gd name="connsiteY16" fmla="*/ 498475 h 803275"/>
                  <a:gd name="connsiteX17" fmla="*/ 1254125 w 1368425"/>
                  <a:gd name="connsiteY17" fmla="*/ 406400 h 803275"/>
                  <a:gd name="connsiteX18" fmla="*/ 1285875 w 1368425"/>
                  <a:gd name="connsiteY18" fmla="*/ 412750 h 803275"/>
                  <a:gd name="connsiteX19" fmla="*/ 1301750 w 1368425"/>
                  <a:gd name="connsiteY19" fmla="*/ 390525 h 803275"/>
                  <a:gd name="connsiteX20" fmla="*/ 1257300 w 1368425"/>
                  <a:gd name="connsiteY20" fmla="*/ 342900 h 803275"/>
                  <a:gd name="connsiteX21" fmla="*/ 1320800 w 1368425"/>
                  <a:gd name="connsiteY21" fmla="*/ 342900 h 803275"/>
                  <a:gd name="connsiteX22" fmla="*/ 1346200 w 1368425"/>
                  <a:gd name="connsiteY22" fmla="*/ 368300 h 803275"/>
                  <a:gd name="connsiteX23" fmla="*/ 1355725 w 1368425"/>
                  <a:gd name="connsiteY23" fmla="*/ 323850 h 803275"/>
                  <a:gd name="connsiteX24" fmla="*/ 1368425 w 1368425"/>
                  <a:gd name="connsiteY24" fmla="*/ 282575 h 803275"/>
                  <a:gd name="connsiteX25" fmla="*/ 1206500 w 1368425"/>
                  <a:gd name="connsiteY25" fmla="*/ 244475 h 803275"/>
                  <a:gd name="connsiteX26" fmla="*/ 1155700 w 1368425"/>
                  <a:gd name="connsiteY26" fmla="*/ 234950 h 803275"/>
                  <a:gd name="connsiteX27" fmla="*/ 1092200 w 1368425"/>
                  <a:gd name="connsiteY27" fmla="*/ 136525 h 803275"/>
                  <a:gd name="connsiteX28" fmla="*/ 990600 w 1368425"/>
                  <a:gd name="connsiteY28" fmla="*/ 184150 h 803275"/>
                  <a:gd name="connsiteX29" fmla="*/ 936625 w 1368425"/>
                  <a:gd name="connsiteY29" fmla="*/ 250825 h 803275"/>
                  <a:gd name="connsiteX30" fmla="*/ 831850 w 1368425"/>
                  <a:gd name="connsiteY30" fmla="*/ 146050 h 803275"/>
                  <a:gd name="connsiteX31" fmla="*/ 774700 w 1368425"/>
                  <a:gd name="connsiteY31" fmla="*/ 92075 h 803275"/>
                  <a:gd name="connsiteX32" fmla="*/ 695325 w 1368425"/>
                  <a:gd name="connsiteY32" fmla="*/ 139700 h 803275"/>
                  <a:gd name="connsiteX33" fmla="*/ 628650 w 1368425"/>
                  <a:gd name="connsiteY33" fmla="*/ 53975 h 803275"/>
                  <a:gd name="connsiteX34" fmla="*/ 488950 w 1368425"/>
                  <a:gd name="connsiteY34" fmla="*/ 53975 h 803275"/>
                  <a:gd name="connsiteX35" fmla="*/ 409575 w 1368425"/>
                  <a:gd name="connsiteY35" fmla="*/ 0 h 803275"/>
                  <a:gd name="connsiteX36" fmla="*/ 285750 w 1368425"/>
                  <a:gd name="connsiteY36" fmla="*/ 63500 h 803275"/>
                  <a:gd name="connsiteX37" fmla="*/ 269875 w 1368425"/>
                  <a:gd name="connsiteY37" fmla="*/ 139700 h 803275"/>
                  <a:gd name="connsiteX38" fmla="*/ 304800 w 1368425"/>
                  <a:gd name="connsiteY38" fmla="*/ 225425 h 803275"/>
                  <a:gd name="connsiteX39" fmla="*/ 212725 w 1368425"/>
                  <a:gd name="connsiteY39" fmla="*/ 260350 h 803275"/>
                  <a:gd name="connsiteX40" fmla="*/ 161925 w 1368425"/>
                  <a:gd name="connsiteY40" fmla="*/ 419100 h 803275"/>
                  <a:gd name="connsiteX41" fmla="*/ 0 w 1368425"/>
                  <a:gd name="connsiteY41" fmla="*/ 431800 h 803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68425" h="803275">
                    <a:moveTo>
                      <a:pt x="0" y="431800"/>
                    </a:moveTo>
                    <a:lnTo>
                      <a:pt x="117475" y="546100"/>
                    </a:lnTo>
                    <a:lnTo>
                      <a:pt x="38100" y="561975"/>
                    </a:lnTo>
                    <a:lnTo>
                      <a:pt x="66675" y="654050"/>
                    </a:lnTo>
                    <a:lnTo>
                      <a:pt x="412750" y="692150"/>
                    </a:lnTo>
                    <a:lnTo>
                      <a:pt x="549275" y="733425"/>
                    </a:lnTo>
                    <a:lnTo>
                      <a:pt x="765175" y="803275"/>
                    </a:lnTo>
                    <a:lnTo>
                      <a:pt x="835025" y="673100"/>
                    </a:lnTo>
                    <a:lnTo>
                      <a:pt x="930275" y="638175"/>
                    </a:lnTo>
                    <a:lnTo>
                      <a:pt x="993775" y="676275"/>
                    </a:lnTo>
                    <a:lnTo>
                      <a:pt x="968375" y="603250"/>
                    </a:lnTo>
                    <a:lnTo>
                      <a:pt x="1006475" y="546100"/>
                    </a:lnTo>
                    <a:lnTo>
                      <a:pt x="1012825" y="466725"/>
                    </a:lnTo>
                    <a:lnTo>
                      <a:pt x="1050925" y="460375"/>
                    </a:lnTo>
                    <a:lnTo>
                      <a:pt x="1082675" y="488950"/>
                    </a:lnTo>
                    <a:lnTo>
                      <a:pt x="1120775" y="450850"/>
                    </a:lnTo>
                    <a:lnTo>
                      <a:pt x="1241425" y="498475"/>
                    </a:lnTo>
                    <a:lnTo>
                      <a:pt x="1254125" y="406400"/>
                    </a:lnTo>
                    <a:lnTo>
                      <a:pt x="1285875" y="412750"/>
                    </a:lnTo>
                    <a:lnTo>
                      <a:pt x="1301750" y="390525"/>
                    </a:lnTo>
                    <a:lnTo>
                      <a:pt x="1257300" y="342900"/>
                    </a:lnTo>
                    <a:lnTo>
                      <a:pt x="1320800" y="342900"/>
                    </a:lnTo>
                    <a:lnTo>
                      <a:pt x="1346200" y="368300"/>
                    </a:lnTo>
                    <a:lnTo>
                      <a:pt x="1355725" y="323850"/>
                    </a:lnTo>
                    <a:lnTo>
                      <a:pt x="1368425" y="282575"/>
                    </a:lnTo>
                    <a:lnTo>
                      <a:pt x="1206500" y="244475"/>
                    </a:lnTo>
                    <a:lnTo>
                      <a:pt x="1155700" y="234950"/>
                    </a:lnTo>
                    <a:lnTo>
                      <a:pt x="1092200" y="136525"/>
                    </a:lnTo>
                    <a:lnTo>
                      <a:pt x="990600" y="184150"/>
                    </a:lnTo>
                    <a:lnTo>
                      <a:pt x="936625" y="250825"/>
                    </a:lnTo>
                    <a:lnTo>
                      <a:pt x="831850" y="146050"/>
                    </a:lnTo>
                    <a:lnTo>
                      <a:pt x="774700" y="92075"/>
                    </a:lnTo>
                    <a:lnTo>
                      <a:pt x="695325" y="139700"/>
                    </a:lnTo>
                    <a:lnTo>
                      <a:pt x="628650" y="53975"/>
                    </a:lnTo>
                    <a:lnTo>
                      <a:pt x="488950" y="53975"/>
                    </a:lnTo>
                    <a:lnTo>
                      <a:pt x="409575" y="0"/>
                    </a:lnTo>
                    <a:lnTo>
                      <a:pt x="285750" y="63500"/>
                    </a:lnTo>
                    <a:lnTo>
                      <a:pt x="269875" y="139700"/>
                    </a:lnTo>
                    <a:lnTo>
                      <a:pt x="304800" y="225425"/>
                    </a:lnTo>
                    <a:lnTo>
                      <a:pt x="212725" y="260350"/>
                    </a:lnTo>
                    <a:lnTo>
                      <a:pt x="161925" y="419100"/>
                    </a:lnTo>
                    <a:lnTo>
                      <a:pt x="0" y="4318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23" name="Freeform 222"/>
              <p:cNvSpPr/>
              <p:nvPr/>
            </p:nvSpPr>
            <p:spPr>
              <a:xfrm>
                <a:off x="5480565" y="3080374"/>
                <a:ext cx="761478" cy="661160"/>
              </a:xfrm>
              <a:custGeom>
                <a:avLst/>
                <a:gdLst>
                  <a:gd name="connsiteX0" fmla="*/ 117475 w 1339850"/>
                  <a:gd name="connsiteY0" fmla="*/ 304800 h 1127125"/>
                  <a:gd name="connsiteX1" fmla="*/ 142875 w 1339850"/>
                  <a:gd name="connsiteY1" fmla="*/ 425450 h 1127125"/>
                  <a:gd name="connsiteX2" fmla="*/ 0 w 1339850"/>
                  <a:gd name="connsiteY2" fmla="*/ 692150 h 1127125"/>
                  <a:gd name="connsiteX3" fmla="*/ 9525 w 1339850"/>
                  <a:gd name="connsiteY3" fmla="*/ 784225 h 1127125"/>
                  <a:gd name="connsiteX4" fmla="*/ 123825 w 1339850"/>
                  <a:gd name="connsiteY4" fmla="*/ 892175 h 1127125"/>
                  <a:gd name="connsiteX5" fmla="*/ 165100 w 1339850"/>
                  <a:gd name="connsiteY5" fmla="*/ 825500 h 1127125"/>
                  <a:gd name="connsiteX6" fmla="*/ 282575 w 1339850"/>
                  <a:gd name="connsiteY6" fmla="*/ 803275 h 1127125"/>
                  <a:gd name="connsiteX7" fmla="*/ 339725 w 1339850"/>
                  <a:gd name="connsiteY7" fmla="*/ 879475 h 1127125"/>
                  <a:gd name="connsiteX8" fmla="*/ 568325 w 1339850"/>
                  <a:gd name="connsiteY8" fmla="*/ 946150 h 1127125"/>
                  <a:gd name="connsiteX9" fmla="*/ 603250 w 1339850"/>
                  <a:gd name="connsiteY9" fmla="*/ 936625 h 1127125"/>
                  <a:gd name="connsiteX10" fmla="*/ 682625 w 1339850"/>
                  <a:gd name="connsiteY10" fmla="*/ 1003300 h 1127125"/>
                  <a:gd name="connsiteX11" fmla="*/ 768350 w 1339850"/>
                  <a:gd name="connsiteY11" fmla="*/ 1003300 h 1127125"/>
                  <a:gd name="connsiteX12" fmla="*/ 942975 w 1339850"/>
                  <a:gd name="connsiteY12" fmla="*/ 1127125 h 1127125"/>
                  <a:gd name="connsiteX13" fmla="*/ 1000125 w 1339850"/>
                  <a:gd name="connsiteY13" fmla="*/ 1060450 h 1127125"/>
                  <a:gd name="connsiteX14" fmla="*/ 942975 w 1339850"/>
                  <a:gd name="connsiteY14" fmla="*/ 993775 h 1127125"/>
                  <a:gd name="connsiteX15" fmla="*/ 889000 w 1339850"/>
                  <a:gd name="connsiteY15" fmla="*/ 955675 h 1127125"/>
                  <a:gd name="connsiteX16" fmla="*/ 889000 w 1339850"/>
                  <a:gd name="connsiteY16" fmla="*/ 898525 h 1127125"/>
                  <a:gd name="connsiteX17" fmla="*/ 857250 w 1339850"/>
                  <a:gd name="connsiteY17" fmla="*/ 857250 h 1127125"/>
                  <a:gd name="connsiteX18" fmla="*/ 879475 w 1339850"/>
                  <a:gd name="connsiteY18" fmla="*/ 809625 h 1127125"/>
                  <a:gd name="connsiteX19" fmla="*/ 930275 w 1339850"/>
                  <a:gd name="connsiteY19" fmla="*/ 819150 h 1127125"/>
                  <a:gd name="connsiteX20" fmla="*/ 968375 w 1339850"/>
                  <a:gd name="connsiteY20" fmla="*/ 771525 h 1127125"/>
                  <a:gd name="connsiteX21" fmla="*/ 1009650 w 1339850"/>
                  <a:gd name="connsiteY21" fmla="*/ 762000 h 1127125"/>
                  <a:gd name="connsiteX22" fmla="*/ 1041400 w 1339850"/>
                  <a:gd name="connsiteY22" fmla="*/ 650875 h 1127125"/>
                  <a:gd name="connsiteX23" fmla="*/ 1063625 w 1339850"/>
                  <a:gd name="connsiteY23" fmla="*/ 666750 h 1127125"/>
                  <a:gd name="connsiteX24" fmla="*/ 1120775 w 1339850"/>
                  <a:gd name="connsiteY24" fmla="*/ 606425 h 1127125"/>
                  <a:gd name="connsiteX25" fmla="*/ 1193800 w 1339850"/>
                  <a:gd name="connsiteY25" fmla="*/ 660400 h 1127125"/>
                  <a:gd name="connsiteX26" fmla="*/ 1190625 w 1339850"/>
                  <a:gd name="connsiteY26" fmla="*/ 682625 h 1127125"/>
                  <a:gd name="connsiteX27" fmla="*/ 1250950 w 1339850"/>
                  <a:gd name="connsiteY27" fmla="*/ 669925 h 1127125"/>
                  <a:gd name="connsiteX28" fmla="*/ 1298575 w 1339850"/>
                  <a:gd name="connsiteY28" fmla="*/ 704850 h 1127125"/>
                  <a:gd name="connsiteX29" fmla="*/ 1339850 w 1339850"/>
                  <a:gd name="connsiteY29" fmla="*/ 663575 h 1127125"/>
                  <a:gd name="connsiteX30" fmla="*/ 1304925 w 1339850"/>
                  <a:gd name="connsiteY30" fmla="*/ 619125 h 1127125"/>
                  <a:gd name="connsiteX31" fmla="*/ 1235075 w 1339850"/>
                  <a:gd name="connsiteY31" fmla="*/ 590550 h 1127125"/>
                  <a:gd name="connsiteX32" fmla="*/ 1270000 w 1339850"/>
                  <a:gd name="connsiteY32" fmla="*/ 533400 h 1127125"/>
                  <a:gd name="connsiteX33" fmla="*/ 1285875 w 1339850"/>
                  <a:gd name="connsiteY33" fmla="*/ 508000 h 1127125"/>
                  <a:gd name="connsiteX34" fmla="*/ 1260475 w 1339850"/>
                  <a:gd name="connsiteY34" fmla="*/ 479425 h 1127125"/>
                  <a:gd name="connsiteX35" fmla="*/ 1327150 w 1339850"/>
                  <a:gd name="connsiteY35" fmla="*/ 396875 h 1127125"/>
                  <a:gd name="connsiteX36" fmla="*/ 1295400 w 1339850"/>
                  <a:gd name="connsiteY36" fmla="*/ 365125 h 1127125"/>
                  <a:gd name="connsiteX37" fmla="*/ 1244600 w 1339850"/>
                  <a:gd name="connsiteY37" fmla="*/ 346075 h 1127125"/>
                  <a:gd name="connsiteX38" fmla="*/ 1244600 w 1339850"/>
                  <a:gd name="connsiteY38" fmla="*/ 304800 h 1127125"/>
                  <a:gd name="connsiteX39" fmla="*/ 1216025 w 1339850"/>
                  <a:gd name="connsiteY39" fmla="*/ 279400 h 1127125"/>
                  <a:gd name="connsiteX40" fmla="*/ 1155700 w 1339850"/>
                  <a:gd name="connsiteY40" fmla="*/ 311150 h 1127125"/>
                  <a:gd name="connsiteX41" fmla="*/ 1120775 w 1339850"/>
                  <a:gd name="connsiteY41" fmla="*/ 219075 h 1127125"/>
                  <a:gd name="connsiteX42" fmla="*/ 1079500 w 1339850"/>
                  <a:gd name="connsiteY42" fmla="*/ 219075 h 1127125"/>
                  <a:gd name="connsiteX43" fmla="*/ 1076325 w 1339850"/>
                  <a:gd name="connsiteY43" fmla="*/ 165100 h 1127125"/>
                  <a:gd name="connsiteX44" fmla="*/ 1101725 w 1339850"/>
                  <a:gd name="connsiteY44" fmla="*/ 142875 h 1127125"/>
                  <a:gd name="connsiteX45" fmla="*/ 1073150 w 1339850"/>
                  <a:gd name="connsiteY45" fmla="*/ 107950 h 1127125"/>
                  <a:gd name="connsiteX46" fmla="*/ 1044575 w 1339850"/>
                  <a:gd name="connsiteY46" fmla="*/ 82550 h 1127125"/>
                  <a:gd name="connsiteX47" fmla="*/ 993775 w 1339850"/>
                  <a:gd name="connsiteY47" fmla="*/ 85725 h 1127125"/>
                  <a:gd name="connsiteX48" fmla="*/ 936625 w 1339850"/>
                  <a:gd name="connsiteY48" fmla="*/ 0 h 1127125"/>
                  <a:gd name="connsiteX49" fmla="*/ 962025 w 1339850"/>
                  <a:gd name="connsiteY49" fmla="*/ 254000 h 1127125"/>
                  <a:gd name="connsiteX50" fmla="*/ 847725 w 1339850"/>
                  <a:gd name="connsiteY50" fmla="*/ 238125 h 1127125"/>
                  <a:gd name="connsiteX51" fmla="*/ 831850 w 1339850"/>
                  <a:gd name="connsiteY51" fmla="*/ 203200 h 1127125"/>
                  <a:gd name="connsiteX52" fmla="*/ 717550 w 1339850"/>
                  <a:gd name="connsiteY52" fmla="*/ 320675 h 1127125"/>
                  <a:gd name="connsiteX53" fmla="*/ 590550 w 1339850"/>
                  <a:gd name="connsiteY53" fmla="*/ 371475 h 1127125"/>
                  <a:gd name="connsiteX54" fmla="*/ 469900 w 1339850"/>
                  <a:gd name="connsiteY54" fmla="*/ 368300 h 1127125"/>
                  <a:gd name="connsiteX55" fmla="*/ 244475 w 1339850"/>
                  <a:gd name="connsiteY55" fmla="*/ 355600 h 1127125"/>
                  <a:gd name="connsiteX56" fmla="*/ 117475 w 1339850"/>
                  <a:gd name="connsiteY56" fmla="*/ 304800 h 1127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339850" h="1127125">
                    <a:moveTo>
                      <a:pt x="117475" y="304800"/>
                    </a:moveTo>
                    <a:lnTo>
                      <a:pt x="142875" y="425450"/>
                    </a:lnTo>
                    <a:lnTo>
                      <a:pt x="0" y="692150"/>
                    </a:lnTo>
                    <a:lnTo>
                      <a:pt x="9525" y="784225"/>
                    </a:lnTo>
                    <a:lnTo>
                      <a:pt x="123825" y="892175"/>
                    </a:lnTo>
                    <a:lnTo>
                      <a:pt x="165100" y="825500"/>
                    </a:lnTo>
                    <a:lnTo>
                      <a:pt x="282575" y="803275"/>
                    </a:lnTo>
                    <a:lnTo>
                      <a:pt x="339725" y="879475"/>
                    </a:lnTo>
                    <a:lnTo>
                      <a:pt x="568325" y="946150"/>
                    </a:lnTo>
                    <a:lnTo>
                      <a:pt x="603250" y="936625"/>
                    </a:lnTo>
                    <a:lnTo>
                      <a:pt x="682625" y="1003300"/>
                    </a:lnTo>
                    <a:lnTo>
                      <a:pt x="768350" y="1003300"/>
                    </a:lnTo>
                    <a:lnTo>
                      <a:pt x="942975" y="1127125"/>
                    </a:lnTo>
                    <a:lnTo>
                      <a:pt x="1000125" y="1060450"/>
                    </a:lnTo>
                    <a:lnTo>
                      <a:pt x="942975" y="993775"/>
                    </a:lnTo>
                    <a:lnTo>
                      <a:pt x="889000" y="955675"/>
                    </a:lnTo>
                    <a:lnTo>
                      <a:pt x="889000" y="898525"/>
                    </a:lnTo>
                    <a:lnTo>
                      <a:pt x="857250" y="857250"/>
                    </a:lnTo>
                    <a:lnTo>
                      <a:pt x="879475" y="809625"/>
                    </a:lnTo>
                    <a:lnTo>
                      <a:pt x="930275" y="819150"/>
                    </a:lnTo>
                    <a:lnTo>
                      <a:pt x="968375" y="771525"/>
                    </a:lnTo>
                    <a:lnTo>
                      <a:pt x="1009650" y="762000"/>
                    </a:lnTo>
                    <a:lnTo>
                      <a:pt x="1041400" y="650875"/>
                    </a:lnTo>
                    <a:lnTo>
                      <a:pt x="1063625" y="666750"/>
                    </a:lnTo>
                    <a:lnTo>
                      <a:pt x="1120775" y="606425"/>
                    </a:lnTo>
                    <a:lnTo>
                      <a:pt x="1193800" y="660400"/>
                    </a:lnTo>
                    <a:lnTo>
                      <a:pt x="1190625" y="682625"/>
                    </a:lnTo>
                    <a:lnTo>
                      <a:pt x="1250950" y="669925"/>
                    </a:lnTo>
                    <a:lnTo>
                      <a:pt x="1298575" y="704850"/>
                    </a:lnTo>
                    <a:lnTo>
                      <a:pt x="1339850" y="663575"/>
                    </a:lnTo>
                    <a:lnTo>
                      <a:pt x="1304925" y="619125"/>
                    </a:lnTo>
                    <a:lnTo>
                      <a:pt x="1235075" y="590550"/>
                    </a:lnTo>
                    <a:lnTo>
                      <a:pt x="1270000" y="533400"/>
                    </a:lnTo>
                    <a:lnTo>
                      <a:pt x="1285875" y="508000"/>
                    </a:lnTo>
                    <a:lnTo>
                      <a:pt x="1260475" y="479425"/>
                    </a:lnTo>
                    <a:lnTo>
                      <a:pt x="1327150" y="396875"/>
                    </a:lnTo>
                    <a:lnTo>
                      <a:pt x="1295400" y="365125"/>
                    </a:lnTo>
                    <a:lnTo>
                      <a:pt x="1244600" y="346075"/>
                    </a:lnTo>
                    <a:lnTo>
                      <a:pt x="1244600" y="304800"/>
                    </a:lnTo>
                    <a:lnTo>
                      <a:pt x="1216025" y="279400"/>
                    </a:lnTo>
                    <a:lnTo>
                      <a:pt x="1155700" y="311150"/>
                    </a:lnTo>
                    <a:lnTo>
                      <a:pt x="1120775" y="219075"/>
                    </a:lnTo>
                    <a:lnTo>
                      <a:pt x="1079500" y="219075"/>
                    </a:lnTo>
                    <a:lnTo>
                      <a:pt x="1076325" y="165100"/>
                    </a:lnTo>
                    <a:lnTo>
                      <a:pt x="1101725" y="142875"/>
                    </a:lnTo>
                    <a:lnTo>
                      <a:pt x="1073150" y="107950"/>
                    </a:lnTo>
                    <a:lnTo>
                      <a:pt x="1044575" y="82550"/>
                    </a:lnTo>
                    <a:lnTo>
                      <a:pt x="993775" y="85725"/>
                    </a:lnTo>
                    <a:lnTo>
                      <a:pt x="936625" y="0"/>
                    </a:lnTo>
                    <a:lnTo>
                      <a:pt x="962025" y="254000"/>
                    </a:lnTo>
                    <a:lnTo>
                      <a:pt x="847725" y="238125"/>
                    </a:lnTo>
                    <a:lnTo>
                      <a:pt x="831850" y="203200"/>
                    </a:lnTo>
                    <a:lnTo>
                      <a:pt x="717550" y="320675"/>
                    </a:lnTo>
                    <a:lnTo>
                      <a:pt x="590550" y="371475"/>
                    </a:lnTo>
                    <a:lnTo>
                      <a:pt x="469900" y="368300"/>
                    </a:lnTo>
                    <a:lnTo>
                      <a:pt x="244475" y="355600"/>
                    </a:lnTo>
                    <a:lnTo>
                      <a:pt x="117475" y="304800"/>
                    </a:lnTo>
                    <a:close/>
                  </a:path>
                </a:pathLst>
              </a:custGeom>
              <a:grpFill/>
              <a:ln w="3175" cap="flat" cmpd="sng" algn="ctr">
                <a:solidFill>
                  <a:sysClr val="window" lastClr="FFFFFF">
                    <a:lumMod val="8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grpSp>
        <p:nvGrpSpPr>
          <p:cNvPr id="224" name="Group 223"/>
          <p:cNvGrpSpPr/>
          <p:nvPr/>
        </p:nvGrpSpPr>
        <p:grpSpPr>
          <a:xfrm>
            <a:off x="10309083" y="1211249"/>
            <a:ext cx="2182004" cy="5058261"/>
            <a:chOff x="7826407" y="927460"/>
            <a:chExt cx="1636503" cy="5058261"/>
          </a:xfrm>
        </p:grpSpPr>
        <p:grpSp>
          <p:nvGrpSpPr>
            <p:cNvPr id="225" name="Group 224"/>
            <p:cNvGrpSpPr/>
            <p:nvPr/>
          </p:nvGrpSpPr>
          <p:grpSpPr>
            <a:xfrm>
              <a:off x="7970100" y="927460"/>
              <a:ext cx="1492810" cy="4846320"/>
              <a:chOff x="7970100" y="1175657"/>
              <a:chExt cx="1492810" cy="4846320"/>
            </a:xfrm>
          </p:grpSpPr>
          <p:sp>
            <p:nvSpPr>
              <p:cNvPr id="227" name="Isosceles Triangle 226"/>
              <p:cNvSpPr/>
              <p:nvPr/>
            </p:nvSpPr>
            <p:spPr bwMode="auto">
              <a:xfrm rot="16200000">
                <a:off x="6138405" y="3219994"/>
                <a:ext cx="4846320" cy="757646"/>
              </a:xfrm>
              <a:prstGeom prst="triangle">
                <a:avLst>
                  <a:gd name="adj" fmla="val 0"/>
                </a:avLst>
              </a:prstGeom>
              <a:solidFill>
                <a:sysClr val="window" lastClr="FFFFFF">
                  <a:lumMod val="85000"/>
                </a:sysClr>
              </a:solidFill>
              <a:ln w="12700" cap="sq" cmpd="sng" algn="ctr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46800" tIns="45720" rIns="468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229" name="TextBox 228"/>
              <p:cNvSpPr txBox="1"/>
              <p:nvPr/>
            </p:nvSpPr>
            <p:spPr>
              <a:xfrm>
                <a:off x="7970100" y="1183623"/>
                <a:ext cx="1492810" cy="16158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Times New Roman" pitchFamily="18" charset="0"/>
                  </a:rPr>
                  <a:t>2015</a:t>
                </a:r>
              </a:p>
            </p:txBody>
          </p:sp>
        </p:grpSp>
        <p:sp>
          <p:nvSpPr>
            <p:cNvPr id="226" name="TextBox 225"/>
            <p:cNvSpPr txBox="1"/>
            <p:nvPr/>
          </p:nvSpPr>
          <p:spPr>
            <a:xfrm>
              <a:off x="7826407" y="5824138"/>
              <a:ext cx="1492810" cy="16158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2016-17</a:t>
              </a: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5556829" y="3201085"/>
            <a:ext cx="1990413" cy="1598778"/>
            <a:chOff x="3661853" y="4453677"/>
            <a:chExt cx="1492810" cy="1598778"/>
          </a:xfrm>
        </p:grpSpPr>
        <p:sp>
          <p:nvSpPr>
            <p:cNvPr id="232" name="TextBox 231"/>
            <p:cNvSpPr txBox="1"/>
            <p:nvPr/>
          </p:nvSpPr>
          <p:spPr>
            <a:xfrm>
              <a:off x="3661853" y="5560012"/>
              <a:ext cx="1492810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50" b="1" dirty="0" smtClean="0">
                  <a:solidFill>
                    <a:prstClr val="black"/>
                  </a:solidFill>
                  <a:latin typeface="Arial"/>
                  <a:cs typeface="Times New Roman" pitchFamily="18" charset="0"/>
                </a:rPr>
                <a:t> </a:t>
              </a:r>
              <a:r>
                <a:rPr lang="en-US" sz="1100" b="1" dirty="0" smtClean="0">
                  <a:solidFill>
                    <a:prstClr val="black"/>
                  </a:solidFill>
                  <a:latin typeface="Arial"/>
                  <a:cs typeface="Times New Roman" pitchFamily="18" charset="0"/>
                </a:rPr>
                <a:t>376 facilities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50" b="1" dirty="0" smtClean="0">
                  <a:solidFill>
                    <a:prstClr val="black"/>
                  </a:solidFill>
                  <a:latin typeface="Arial"/>
                  <a:cs typeface="Times New Roman" pitchFamily="18" charset="0"/>
                </a:rPr>
                <a:t> </a:t>
              </a:r>
              <a:r>
                <a:rPr lang="en-US" sz="1050" i="1" dirty="0" smtClean="0">
                  <a:solidFill>
                    <a:prstClr val="black"/>
                  </a:solidFill>
                  <a:latin typeface="Arial"/>
                  <a:cs typeface="Times New Roman" pitchFamily="18" charset="0"/>
                </a:rPr>
                <a:t>(320 BEmONC &amp; 56 CEmONC Centres)</a:t>
              </a:r>
              <a:endParaRPr lang="en-US" sz="1050" b="1" dirty="0" smtClean="0">
                <a:solidFill>
                  <a:prstClr val="black"/>
                </a:solidFill>
                <a:latin typeface="Arial"/>
                <a:cs typeface="Times New Roman" pitchFamily="18" charset="0"/>
              </a:endParaRPr>
            </a:p>
          </p:txBody>
        </p:sp>
        <p:pic>
          <p:nvPicPr>
            <p:cNvPr id="233" name="Picture 4" descr="http://www.clipartlord.com/wp-content/uploads/2014/05/hospital6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3629" y="4453677"/>
              <a:ext cx="917206" cy="763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4" name="Group 233"/>
          <p:cNvGrpSpPr/>
          <p:nvPr/>
        </p:nvGrpSpPr>
        <p:grpSpPr>
          <a:xfrm>
            <a:off x="8018832" y="4822138"/>
            <a:ext cx="1990413" cy="1166778"/>
            <a:chOff x="4919987" y="4566110"/>
            <a:chExt cx="1492810" cy="1166778"/>
          </a:xfrm>
        </p:grpSpPr>
        <p:pic>
          <p:nvPicPr>
            <p:cNvPr id="235" name="Picture 15" descr="http://www.iconpng.com/png/medical-icons/nurs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8356" y="4566110"/>
              <a:ext cx="706318" cy="70631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6" name="TextBox 235"/>
            <p:cNvSpPr txBox="1"/>
            <p:nvPr/>
          </p:nvSpPr>
          <p:spPr>
            <a:xfrm>
              <a:off x="4919987" y="5563611"/>
              <a:ext cx="1492810" cy="1692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50" b="1" dirty="0" smtClean="0">
                  <a:solidFill>
                    <a:prstClr val="black"/>
                  </a:solidFill>
                  <a:latin typeface="Arial"/>
                  <a:cs typeface="Times New Roman" pitchFamily="18" charset="0"/>
                </a:rPr>
                <a:t>~</a:t>
              </a:r>
              <a:r>
                <a:rPr lang="en-US" sz="1100" b="1" dirty="0" smtClean="0">
                  <a:solidFill>
                    <a:prstClr val="black"/>
                  </a:solidFill>
                  <a:latin typeface="Arial"/>
                  <a:cs typeface="Times New Roman" pitchFamily="18" charset="0"/>
                </a:rPr>
                <a:t>2750 Nurses</a:t>
              </a:r>
            </a:p>
          </p:txBody>
        </p:sp>
      </p:grpSp>
      <p:cxnSp>
        <p:nvCxnSpPr>
          <p:cNvPr id="238" name="Straight Connector 237"/>
          <p:cNvCxnSpPr/>
          <p:nvPr/>
        </p:nvCxnSpPr>
        <p:spPr bwMode="auto">
          <a:xfrm>
            <a:off x="10134908" y="1144415"/>
            <a:ext cx="0" cy="5434667"/>
          </a:xfrm>
          <a:prstGeom prst="line">
            <a:avLst/>
          </a:prstGeom>
          <a:solidFill>
            <a:srgbClr val="4F81BD"/>
          </a:solidFill>
          <a:ln w="12700" cap="sq" cmpd="sng" algn="ctr">
            <a:solidFill>
              <a:sysClr val="window" lastClr="FFFFFF">
                <a:lumMod val="75000"/>
              </a:sys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6265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981200" y="6356351"/>
            <a:ext cx="2133600" cy="365125"/>
          </a:xfrm>
        </p:spPr>
        <p:txBody>
          <a:bodyPr/>
          <a:lstStyle/>
          <a:p>
            <a:pPr algn="l">
              <a:defRPr/>
            </a:pPr>
            <a:fld id="{59C15AEF-31B3-4E15-8178-C13A1A455620}" type="slidenum">
              <a:rPr lang="en-US"/>
              <a:pPr algn="l">
                <a:defRPr/>
              </a:pPr>
              <a:t>15</a:t>
            </a:fld>
            <a:endParaRPr lang="en-US"/>
          </a:p>
        </p:txBody>
      </p:sp>
      <p:sp>
        <p:nvSpPr>
          <p:cNvPr id="3072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181600" y="990600"/>
            <a:ext cx="5029200" cy="4343400"/>
          </a:xfrm>
          <a:solidFill>
            <a:srgbClr val="DDDDDD"/>
          </a:solidFill>
        </p:spPr>
        <p:txBody>
          <a:bodyPr/>
          <a:lstStyle/>
          <a:p>
            <a:pPr marL="365125" indent="-255588">
              <a:lnSpc>
                <a:spcPct val="90000"/>
              </a:lnSpc>
            </a:pPr>
            <a:endParaRPr lang="en-US" sz="1800" i="1"/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Go to the people.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Live with them.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Learn from them.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Love them.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Start with what they know.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Build with what they have.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But with the best leaders,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When the work is done,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The task accomplished,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The people will say</a:t>
            </a:r>
          </a:p>
          <a:p>
            <a:pPr marL="365125" indent="-255588">
              <a:lnSpc>
                <a:spcPct val="90000"/>
              </a:lnSpc>
            </a:pPr>
            <a:r>
              <a:rPr lang="en-US" sz="1800" i="1"/>
              <a:t>‘We have done this ourselves’.</a:t>
            </a:r>
            <a:endParaRPr lang="en-US" sz="1800"/>
          </a:p>
          <a:p>
            <a:pPr marL="365125" indent="-255588" algn="r">
              <a:lnSpc>
                <a:spcPct val="90000"/>
              </a:lnSpc>
            </a:pPr>
            <a:endParaRPr lang="en-US" sz="1800"/>
          </a:p>
          <a:p>
            <a:pPr marL="365125" indent="-255588" algn="r">
              <a:lnSpc>
                <a:spcPct val="90000"/>
              </a:lnSpc>
            </a:pPr>
            <a:r>
              <a:rPr lang="en-US" sz="1800"/>
              <a:t>- Lao-tse in 7th century B.C.</a:t>
            </a:r>
          </a:p>
        </p:txBody>
      </p:sp>
      <p:pic>
        <p:nvPicPr>
          <p:cNvPr id="30723" name="Picture 4" descr="lao-tse-03"/>
          <p:cNvPicPr>
            <a:picLocks noChangeAspect="1" noChangeArrowheads="1"/>
          </p:cNvPicPr>
          <p:nvPr/>
        </p:nvPicPr>
        <p:blipFill>
          <a:blip r:embed="rId3" cstate="print"/>
          <a:srcRect l="5240" t="2325" r="5676" b="4651"/>
          <a:stretch>
            <a:fillRect/>
          </a:stretch>
        </p:blipFill>
        <p:spPr bwMode="auto">
          <a:xfrm>
            <a:off x="1981200" y="1371600"/>
            <a:ext cx="2979738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4" name="TextBox 5"/>
          <p:cNvSpPr txBox="1">
            <a:spLocks noChangeArrowheads="1"/>
          </p:cNvSpPr>
          <p:nvPr/>
        </p:nvSpPr>
        <p:spPr bwMode="auto">
          <a:xfrm>
            <a:off x="2362200" y="5943601"/>
            <a:ext cx="55626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5400">
                <a:latin typeface="Corbel" pitchFamily="34" charset="0"/>
              </a:rPr>
              <a:t>THANKS</a:t>
            </a:r>
            <a:endParaRPr lang="en-IN" sz="5400">
              <a:latin typeface="Corbe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058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12800" y="1371600"/>
            <a:ext cx="736600" cy="9144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/>
              <a:t>1</a:t>
            </a:r>
            <a:endParaRPr lang="en-IN" b="1" dirty="0"/>
          </a:p>
        </p:txBody>
      </p:sp>
      <p:sp>
        <p:nvSpPr>
          <p:cNvPr id="32" name="Rectangle 31"/>
          <p:cNvSpPr/>
          <p:nvPr/>
        </p:nvSpPr>
        <p:spPr>
          <a:xfrm>
            <a:off x="1682415" y="1371600"/>
            <a:ext cx="88773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 dirty="0" smtClean="0">
                <a:solidFill>
                  <a:schemeClr val="accent6"/>
                </a:solidFill>
              </a:rPr>
              <a:t>Need for training the nurses in the state of Bihar</a:t>
            </a:r>
            <a:endParaRPr lang="en-IN" b="1" dirty="0">
              <a:solidFill>
                <a:schemeClr val="accent6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12800" y="2520455"/>
            <a:ext cx="736600" cy="9144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/>
              <a:t>2</a:t>
            </a:r>
            <a:endParaRPr lang="en-IN" b="1" dirty="0"/>
          </a:p>
        </p:txBody>
      </p:sp>
      <p:sp>
        <p:nvSpPr>
          <p:cNvPr id="34" name="Rectangle 33"/>
          <p:cNvSpPr/>
          <p:nvPr/>
        </p:nvSpPr>
        <p:spPr>
          <a:xfrm>
            <a:off x="1682415" y="2520455"/>
            <a:ext cx="88773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 dirty="0" smtClean="0">
                <a:solidFill>
                  <a:schemeClr val="accent6"/>
                </a:solidFill>
              </a:rPr>
              <a:t>Mobile Nurse Mentoring (MNM) Pilot and its results</a:t>
            </a:r>
            <a:endParaRPr lang="en-IN" b="1" dirty="0">
              <a:solidFill>
                <a:schemeClr val="accent6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812800" y="3626446"/>
            <a:ext cx="736600" cy="9144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/>
              <a:t>3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682415" y="3626446"/>
            <a:ext cx="8877300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b="1" dirty="0" smtClean="0">
                <a:solidFill>
                  <a:schemeClr val="accent6"/>
                </a:solidFill>
              </a:rPr>
              <a:t>Lesson learnt and scale up plan</a:t>
            </a:r>
            <a:endParaRPr lang="en-IN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13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85149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>
              <a:latin typeface="Calibri"/>
              <a:sym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US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lysis of issues contributing to mortality and morbidity led to identification of skill gaps at facilities </a:t>
            </a:r>
            <a:endParaRPr lang="en-US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 smtClean="0"/>
              <a:t>1</a:t>
            </a:r>
            <a:endParaRPr lang="en-IN" sz="1100" b="1" dirty="0"/>
          </a:p>
        </p:txBody>
      </p:sp>
      <p:sp>
        <p:nvSpPr>
          <p:cNvPr id="143" name="TextBox 142"/>
          <p:cNvSpPr txBox="1"/>
          <p:nvPr/>
        </p:nvSpPr>
        <p:spPr>
          <a:xfrm>
            <a:off x="1163531" y="1400431"/>
            <a:ext cx="70756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MATERNAL MORTALITY RATE</a:t>
            </a:r>
            <a:endParaRPr lang="en-US" sz="2000" b="1" dirty="0"/>
          </a:p>
        </p:txBody>
      </p:sp>
      <p:sp>
        <p:nvSpPr>
          <p:cNvPr id="145" name="TextBox 144"/>
          <p:cNvSpPr txBox="1"/>
          <p:nvPr/>
        </p:nvSpPr>
        <p:spPr>
          <a:xfrm>
            <a:off x="1163531" y="4143631"/>
            <a:ext cx="54743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NEONATAL MORTALITY RATE</a:t>
            </a:r>
            <a:endParaRPr lang="en-US" sz="2000" b="1" dirty="0"/>
          </a:p>
        </p:txBody>
      </p:sp>
      <p:sp>
        <p:nvSpPr>
          <p:cNvPr id="147" name="Rectangle 146"/>
          <p:cNvSpPr/>
          <p:nvPr/>
        </p:nvSpPr>
        <p:spPr bwMode="auto">
          <a:xfrm>
            <a:off x="5266284" y="1499791"/>
            <a:ext cx="2743205" cy="2063058"/>
          </a:xfrm>
          <a:prstGeom prst="rect">
            <a:avLst/>
          </a:prstGeom>
          <a:solidFill>
            <a:srgbClr val="4BACC6"/>
          </a:solidFill>
          <a:ln w="9525" cap="flat" cmpd="sng" algn="ctr">
            <a:solidFill>
              <a:sysClr val="window" lastClr="FFFFFF"/>
            </a:solidFill>
            <a:prstDash val="solid"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uman Resources</a:t>
            </a:r>
            <a:endParaRPr kumimoji="0" lang="en-IN" b="1" i="1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9" name="Rectangle 148"/>
          <p:cNvSpPr/>
          <p:nvPr/>
        </p:nvSpPr>
        <p:spPr bwMode="auto">
          <a:xfrm>
            <a:off x="5276500" y="3833617"/>
            <a:ext cx="2732990" cy="1067001"/>
          </a:xfrm>
          <a:prstGeom prst="rect">
            <a:avLst/>
          </a:prstGeom>
          <a:solidFill>
            <a:srgbClr val="4BACC6"/>
          </a:solidFill>
          <a:ln w="9525" cap="flat" cmpd="sng" algn="ctr">
            <a:solidFill>
              <a:sysClr val="window" lastClr="FFFFFF"/>
            </a:solidFill>
            <a:prstDash val="solid"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oor Infrastructure and Management</a:t>
            </a:r>
            <a:endParaRPr kumimoji="0" lang="en-IN" b="1" i="1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5" name="Rectangle 154"/>
          <p:cNvSpPr/>
          <p:nvPr/>
        </p:nvSpPr>
        <p:spPr bwMode="auto">
          <a:xfrm>
            <a:off x="5276156" y="5198097"/>
            <a:ext cx="2733334" cy="945534"/>
          </a:xfrm>
          <a:prstGeom prst="rect">
            <a:avLst/>
          </a:prstGeom>
          <a:solidFill>
            <a:srgbClr val="4BACC6"/>
          </a:solidFill>
          <a:ln w="9525" cap="flat" cmpd="sng" algn="ctr">
            <a:solidFill>
              <a:sysClr val="window" lastClr="FFFFFF"/>
            </a:solidFill>
            <a:prstDash val="solid"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allenges with  Patients</a:t>
            </a:r>
            <a:endParaRPr kumimoji="0" lang="en-IN" b="1" i="1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8" name="Rectangle 157"/>
          <p:cNvSpPr/>
          <p:nvPr/>
        </p:nvSpPr>
        <p:spPr bwMode="auto">
          <a:xfrm>
            <a:off x="8079567" y="1504895"/>
            <a:ext cx="3555385" cy="2054932"/>
          </a:xfrm>
          <a:prstGeom prst="rect">
            <a:avLst/>
          </a:prstGeom>
          <a:solidFill>
            <a:schemeClr val="bg1"/>
          </a:solidFill>
          <a:ln w="12700" cap="sq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230400" indent="-230400" eaLnBrk="0" hangingPunct="0">
              <a:buFont typeface="Wingdings" panose="05000000000000000000" pitchFamily="2" charset="2"/>
              <a:buChar char="§"/>
            </a:pPr>
            <a:r>
              <a:rPr lang="en-US" dirty="0" smtClean="0"/>
              <a:t>Shortage of doctors and nurses at the facilities</a:t>
            </a:r>
          </a:p>
          <a:p>
            <a:pPr marL="230400" indent="-230400" eaLnBrk="0" hangingPunct="0">
              <a:buFont typeface="Wingdings" panose="05000000000000000000" pitchFamily="2" charset="2"/>
              <a:buChar char="§"/>
            </a:pPr>
            <a:r>
              <a:rPr lang="en-US" b="1" dirty="0" smtClean="0"/>
              <a:t>Male </a:t>
            </a:r>
            <a:r>
              <a:rPr lang="en-US" b="1" dirty="0"/>
              <a:t>doctors </a:t>
            </a:r>
            <a:r>
              <a:rPr lang="en-US" dirty="0"/>
              <a:t>do not enter labor room and hence contribute very less to patient </a:t>
            </a:r>
            <a:r>
              <a:rPr lang="en-US" dirty="0" smtClean="0"/>
              <a:t>care</a:t>
            </a:r>
          </a:p>
          <a:p>
            <a:pPr marL="230400" indent="-230400" eaLnBrk="0" hangingPunct="0">
              <a:buFont typeface="Wingdings" panose="05000000000000000000" pitchFamily="2" charset="2"/>
              <a:buChar char="§"/>
            </a:pPr>
            <a:r>
              <a:rPr lang="en-US" dirty="0" smtClean="0"/>
              <a:t>Misconceptions/contentions</a:t>
            </a:r>
          </a:p>
          <a:p>
            <a:pPr marL="230400" indent="-230400" eaLnBrk="0" hangingPunct="0">
              <a:buFont typeface="Wingdings" panose="05000000000000000000" pitchFamily="2" charset="2"/>
              <a:buChar char="§"/>
            </a:pPr>
            <a:r>
              <a:rPr lang="en-US" dirty="0" smtClean="0"/>
              <a:t>Quality of training ???</a:t>
            </a:r>
            <a:endParaRPr lang="en-US" dirty="0"/>
          </a:p>
          <a:p>
            <a:pPr marL="230400" indent="-230400" eaLnBrk="0" hangingPunct="0">
              <a:buFont typeface="Wingdings" panose="05000000000000000000" pitchFamily="2" charset="2"/>
              <a:buChar char="§"/>
            </a:pPr>
            <a:endParaRPr lang="en-US" sz="1400" dirty="0" smtClean="0">
              <a:latin typeface="+mn-lt"/>
            </a:endParaRPr>
          </a:p>
        </p:txBody>
      </p:sp>
      <p:sp>
        <p:nvSpPr>
          <p:cNvPr id="159" name="Rectangle 158"/>
          <p:cNvSpPr/>
          <p:nvPr/>
        </p:nvSpPr>
        <p:spPr bwMode="auto">
          <a:xfrm>
            <a:off x="8079567" y="3833617"/>
            <a:ext cx="3555385" cy="1060400"/>
          </a:xfrm>
          <a:prstGeom prst="rect">
            <a:avLst/>
          </a:prstGeom>
          <a:solidFill>
            <a:schemeClr val="bg1"/>
          </a:solidFill>
          <a:ln w="12700" cap="sq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230400" indent="-230400" eaLnBrk="0" hangingPunct="0">
              <a:buFont typeface="Wingdings" panose="05000000000000000000" pitchFamily="2" charset="2"/>
              <a:buChar char="§"/>
            </a:pPr>
            <a:r>
              <a:rPr lang="en-US" dirty="0" smtClean="0"/>
              <a:t>Poor access to facilities (1 PHC: 1.5-2 lakh population)</a:t>
            </a:r>
          </a:p>
          <a:p>
            <a:pPr marL="230400" indent="-230400" eaLnBrk="0" hangingPunct="0">
              <a:buFont typeface="Wingdings" panose="05000000000000000000" pitchFamily="2" charset="2"/>
              <a:buChar char="§"/>
            </a:pPr>
            <a:r>
              <a:rPr lang="en-US" dirty="0" smtClean="0"/>
              <a:t>Poor usage of available resources</a:t>
            </a:r>
          </a:p>
        </p:txBody>
      </p:sp>
      <p:sp>
        <p:nvSpPr>
          <p:cNvPr id="162" name="Rectangle 161"/>
          <p:cNvSpPr/>
          <p:nvPr/>
        </p:nvSpPr>
        <p:spPr bwMode="auto">
          <a:xfrm>
            <a:off x="8079567" y="5198097"/>
            <a:ext cx="3555385" cy="945534"/>
          </a:xfrm>
          <a:prstGeom prst="rect">
            <a:avLst/>
          </a:prstGeom>
          <a:solidFill>
            <a:schemeClr val="bg1"/>
          </a:solidFill>
          <a:ln w="12700" cap="sq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Gender and </a:t>
            </a:r>
            <a:r>
              <a:rPr lang="en-US" b="1" dirty="0"/>
              <a:t>social inequit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dirty="0"/>
              <a:t>Poor economical background</a:t>
            </a:r>
          </a:p>
          <a:p>
            <a:pPr marL="228600" indent="-228600">
              <a:lnSpc>
                <a:spcPct val="150000"/>
              </a:lnSpc>
              <a:buFont typeface="Arial" pitchFamily="34" charset="0"/>
              <a:buChar char="•"/>
            </a:pP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981903" y="1319153"/>
            <a:ext cx="0" cy="524189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762580888"/>
              </p:ext>
            </p:extLst>
          </p:nvPr>
        </p:nvGraphicFramePr>
        <p:xfrm>
          <a:off x="352768" y="2030598"/>
          <a:ext cx="4348578" cy="18477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298129955"/>
              </p:ext>
            </p:extLst>
          </p:nvPr>
        </p:nvGraphicFramePr>
        <p:xfrm>
          <a:off x="394128" y="4256690"/>
          <a:ext cx="4307217" cy="2257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3715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MNM was introduced to improve knowledge and skills of </a:t>
            </a:r>
            <a:r>
              <a:rPr lang="en-US" sz="24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nurses </a:t>
            </a:r>
            <a:r>
              <a:rPr lang="en-US" sz="24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to ensure  effective Emergency Obstetric &amp; Neonatal service and Family Planning</a:t>
            </a:r>
            <a:endParaRPr lang="en-IN" sz="2400" b="1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 smtClean="0"/>
              <a:t>1</a:t>
            </a:r>
            <a:endParaRPr lang="en-IN" sz="1100" b="1" dirty="0"/>
          </a:p>
        </p:txBody>
      </p:sp>
      <p:grpSp>
        <p:nvGrpSpPr>
          <p:cNvPr id="2" name="Group 1"/>
          <p:cNvGrpSpPr/>
          <p:nvPr/>
        </p:nvGrpSpPr>
        <p:grpSpPr>
          <a:xfrm>
            <a:off x="848849" y="3834731"/>
            <a:ext cx="10541963" cy="2194560"/>
            <a:chOff x="848849" y="2342312"/>
            <a:chExt cx="10541963" cy="2194560"/>
          </a:xfrm>
        </p:grpSpPr>
        <p:sp>
          <p:nvSpPr>
            <p:cNvPr id="308" name="Rectangle 307"/>
            <p:cNvSpPr/>
            <p:nvPr/>
          </p:nvSpPr>
          <p:spPr bwMode="auto">
            <a:xfrm>
              <a:off x="848849" y="2342312"/>
              <a:ext cx="10541963" cy="2194560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IN" dirty="0" smtClean="0">
                <a:solidFill>
                  <a:schemeClr val="accent6"/>
                </a:solidFill>
                <a:latin typeface="+mn-lt"/>
              </a:endParaRPr>
            </a:p>
          </p:txBody>
        </p:sp>
        <p:pic>
          <p:nvPicPr>
            <p:cNvPr id="310" name="Picture 6" descr="http://emarketingblogger.com/wp-content/uploads/2014/04/content-marketing-advantages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8140" y="2601920"/>
              <a:ext cx="2606843" cy="15641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1" name="Oval 310"/>
            <p:cNvSpPr/>
            <p:nvPr/>
          </p:nvSpPr>
          <p:spPr bwMode="auto">
            <a:xfrm>
              <a:off x="4836963" y="2525192"/>
              <a:ext cx="2400000" cy="1800000"/>
            </a:xfrm>
            <a:prstGeom prst="ellipse">
              <a:avLst/>
            </a:prstGeom>
            <a:noFill/>
            <a:ln w="12700" cap="sq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IN" sz="1600" dirty="0" smtClean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302" name="Rectangle 301"/>
            <p:cNvSpPr/>
            <p:nvPr/>
          </p:nvSpPr>
          <p:spPr bwMode="auto">
            <a:xfrm>
              <a:off x="1079862" y="2555237"/>
              <a:ext cx="3396343" cy="488550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71450" marR="0" indent="-171450" defTabSz="914400" rtl="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</a:pPr>
              <a:r>
                <a:rPr lang="en-US" sz="1400" dirty="0" smtClean="0">
                  <a:solidFill>
                    <a:schemeClr val="accent6"/>
                  </a:solidFill>
                  <a:latin typeface="+mn-lt"/>
                </a:rPr>
                <a:t>Effective management of routine deliveries</a:t>
              </a:r>
              <a:endParaRPr lang="en-IN" sz="1400" dirty="0" smtClean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303" name="Rectangle 302"/>
            <p:cNvSpPr/>
            <p:nvPr/>
          </p:nvSpPr>
          <p:spPr bwMode="auto">
            <a:xfrm>
              <a:off x="1079862" y="3191950"/>
              <a:ext cx="3030584" cy="488550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71450" indent="-171450" eaLnBrk="0" hangingPunct="0">
                <a:lnSpc>
                  <a:spcPct val="130000"/>
                </a:lnSpc>
                <a:buFont typeface="Wingdings" panose="05000000000000000000" pitchFamily="2" charset="2"/>
                <a:buChar char="v"/>
              </a:pPr>
              <a:r>
                <a:rPr lang="en-US" sz="1400" dirty="0">
                  <a:solidFill>
                    <a:schemeClr val="accent6"/>
                  </a:solidFill>
                </a:rPr>
                <a:t>Handling neonatal complications as per protocol</a:t>
              </a:r>
              <a:endParaRPr lang="en-IN" sz="1400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304" name="Rectangle 303"/>
            <p:cNvSpPr/>
            <p:nvPr/>
          </p:nvSpPr>
          <p:spPr bwMode="auto">
            <a:xfrm>
              <a:off x="1079860" y="3826946"/>
              <a:ext cx="3396343" cy="488550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71450" indent="-171450" eaLnBrk="0" hangingPunct="0">
                <a:lnSpc>
                  <a:spcPct val="130000"/>
                </a:lnSpc>
                <a:buFont typeface="Wingdings" panose="05000000000000000000" pitchFamily="2" charset="2"/>
                <a:buChar char="v"/>
              </a:pPr>
              <a:r>
                <a:rPr lang="en-US" sz="1400" dirty="0" smtClean="0">
                  <a:solidFill>
                    <a:schemeClr val="accent6"/>
                  </a:solidFill>
                </a:rPr>
                <a:t>Improved </a:t>
              </a:r>
              <a:r>
                <a:rPr lang="en-US" sz="1400" dirty="0">
                  <a:solidFill>
                    <a:schemeClr val="accent6"/>
                  </a:solidFill>
                </a:rPr>
                <a:t>quality of care at the </a:t>
              </a:r>
              <a:r>
                <a:rPr lang="en-US" sz="1400" dirty="0" smtClean="0">
                  <a:solidFill>
                    <a:schemeClr val="accent6"/>
                  </a:solidFill>
                </a:rPr>
                <a:t>facilities – including family planning</a:t>
              </a:r>
              <a:endParaRPr lang="en-IN" sz="1400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305" name="Rectangle 304"/>
            <p:cNvSpPr/>
            <p:nvPr/>
          </p:nvSpPr>
          <p:spPr bwMode="auto">
            <a:xfrm>
              <a:off x="7646125" y="2533723"/>
              <a:ext cx="3396343" cy="488550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71450" indent="-171450" eaLnBrk="0" hangingPunct="0">
                <a:lnSpc>
                  <a:spcPct val="130000"/>
                </a:lnSpc>
                <a:buFont typeface="Wingdings" panose="05000000000000000000" pitchFamily="2" charset="2"/>
                <a:buChar char="v"/>
              </a:pPr>
              <a:r>
                <a:rPr lang="en-US" sz="1400" dirty="0">
                  <a:solidFill>
                    <a:schemeClr val="accent6"/>
                  </a:solidFill>
                  <a:latin typeface="+mn-lt"/>
                </a:rPr>
                <a:t>Decrease in complications caused due to mismanagement</a:t>
              </a:r>
              <a:endParaRPr lang="en-IN" sz="1400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306" name="Rectangle 305"/>
            <p:cNvSpPr/>
            <p:nvPr/>
          </p:nvSpPr>
          <p:spPr bwMode="auto">
            <a:xfrm>
              <a:off x="8011885" y="3170436"/>
              <a:ext cx="3030581" cy="488550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71450" indent="-171450" eaLnBrk="0" hangingPunct="0">
                <a:lnSpc>
                  <a:spcPct val="130000"/>
                </a:lnSpc>
                <a:buFont typeface="Wingdings" panose="05000000000000000000" pitchFamily="2" charset="2"/>
                <a:buChar char="v"/>
              </a:pPr>
              <a:r>
                <a:rPr lang="en-US" sz="1400" dirty="0" smtClean="0">
                  <a:solidFill>
                    <a:schemeClr val="accent6"/>
                  </a:solidFill>
                  <a:latin typeface="+mn-lt"/>
                </a:rPr>
                <a:t>Decrease in number of post FP procedural complications</a:t>
              </a:r>
              <a:endParaRPr lang="en-IN" sz="1400" dirty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307" name="Rectangle 306"/>
            <p:cNvSpPr/>
            <p:nvPr/>
          </p:nvSpPr>
          <p:spPr bwMode="auto">
            <a:xfrm>
              <a:off x="7646123" y="3805432"/>
              <a:ext cx="3396343" cy="488550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71450" indent="-171450" eaLnBrk="0" hangingPunct="0">
                <a:lnSpc>
                  <a:spcPct val="130000"/>
                </a:lnSpc>
                <a:buFont typeface="Wingdings" panose="05000000000000000000" pitchFamily="2" charset="2"/>
                <a:buChar char="v"/>
              </a:pPr>
              <a:r>
                <a:rPr lang="en-US" sz="1400" dirty="0" smtClean="0">
                  <a:solidFill>
                    <a:schemeClr val="accent6"/>
                  </a:solidFill>
                  <a:latin typeface="+mn-lt"/>
                </a:rPr>
                <a:t>Taking proper infection control measures</a:t>
              </a:r>
              <a:endParaRPr lang="en-IN" sz="1400" dirty="0">
                <a:solidFill>
                  <a:schemeClr val="accent6"/>
                </a:solidFill>
                <a:latin typeface="+mn-lt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48848" y="1434653"/>
            <a:ext cx="10541963" cy="1902229"/>
            <a:chOff x="848848" y="1686909"/>
            <a:chExt cx="10541963" cy="1902229"/>
          </a:xfrm>
        </p:grpSpPr>
        <p:sp>
          <p:nvSpPr>
            <p:cNvPr id="312" name="Rectangle 311"/>
            <p:cNvSpPr/>
            <p:nvPr/>
          </p:nvSpPr>
          <p:spPr bwMode="auto">
            <a:xfrm>
              <a:off x="848848" y="1686909"/>
              <a:ext cx="10541963" cy="1902229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2">
                  <a:lumMod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IN" sz="1400" dirty="0" smtClean="0">
                <a:solidFill>
                  <a:schemeClr val="accent6"/>
                </a:solidFill>
                <a:latin typeface="+mn-lt"/>
              </a:endParaRPr>
            </a:p>
          </p:txBody>
        </p:sp>
        <p:pic>
          <p:nvPicPr>
            <p:cNvPr id="313" name="Picture 15" descr="http://www.iconpng.com/png/medical-icons/nurs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9508" y="2263546"/>
              <a:ext cx="941757" cy="70631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4" name="Right Arrow 313"/>
            <p:cNvSpPr/>
            <p:nvPr/>
          </p:nvSpPr>
          <p:spPr bwMode="auto">
            <a:xfrm>
              <a:off x="3587932" y="2440126"/>
              <a:ext cx="609600" cy="353159"/>
            </a:xfrm>
            <a:prstGeom prst="rightArrow">
              <a:avLst/>
            </a:prstGeom>
            <a:solidFill>
              <a:schemeClr val="bg1"/>
            </a:solidFill>
            <a:ln w="12700" cap="sq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1400" dirty="0" smtClean="0">
                <a:solidFill>
                  <a:schemeClr val="accent6"/>
                </a:solidFill>
                <a:latin typeface="+mn-lt"/>
              </a:endParaRPr>
            </a:p>
          </p:txBody>
        </p:sp>
        <p:sp>
          <p:nvSpPr>
            <p:cNvPr id="315" name="Rectangle 314"/>
            <p:cNvSpPr/>
            <p:nvPr/>
          </p:nvSpPr>
          <p:spPr bwMode="auto">
            <a:xfrm>
              <a:off x="4907039" y="2273235"/>
              <a:ext cx="6135425" cy="331959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eaLnBrk="0" hangingPunct="0">
                <a:lnSpc>
                  <a:spcPct val="130000"/>
                </a:lnSpc>
              </a:pPr>
              <a:r>
                <a:rPr lang="en-US" sz="1400" dirty="0">
                  <a:solidFill>
                    <a:schemeClr val="accent6"/>
                  </a:solidFill>
                </a:rPr>
                <a:t>Identification, management and referral of </a:t>
              </a:r>
              <a:r>
                <a:rPr lang="en-US" sz="1400" dirty="0" smtClean="0">
                  <a:solidFill>
                    <a:schemeClr val="accent6"/>
                  </a:solidFill>
                </a:rPr>
                <a:t>patients</a:t>
              </a:r>
              <a:endParaRPr lang="en-US" sz="1400" dirty="0">
                <a:solidFill>
                  <a:schemeClr val="accent6"/>
                </a:solidFill>
              </a:endParaRPr>
            </a:p>
          </p:txBody>
        </p:sp>
        <p:sp>
          <p:nvSpPr>
            <p:cNvPr id="316" name="Rectangle 315"/>
            <p:cNvSpPr/>
            <p:nvPr/>
          </p:nvSpPr>
          <p:spPr bwMode="auto">
            <a:xfrm>
              <a:off x="4907039" y="3178349"/>
              <a:ext cx="6135425" cy="331959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lnSpc>
                  <a:spcPct val="130000"/>
                </a:lnSpc>
              </a:pPr>
              <a:r>
                <a:rPr lang="en-US" sz="1400" dirty="0" smtClean="0">
                  <a:solidFill>
                    <a:schemeClr val="accent6"/>
                  </a:solidFill>
                </a:rPr>
                <a:t>Major </a:t>
              </a:r>
              <a:r>
                <a:rPr lang="en-US" sz="1400" dirty="0">
                  <a:solidFill>
                    <a:schemeClr val="accent6"/>
                  </a:solidFill>
                </a:rPr>
                <a:t>role in every  initiative of the </a:t>
              </a:r>
              <a:r>
                <a:rPr lang="en-US" sz="1400" dirty="0" smtClean="0">
                  <a:solidFill>
                    <a:schemeClr val="accent6"/>
                  </a:solidFill>
                </a:rPr>
                <a:t>government</a:t>
              </a:r>
              <a:endParaRPr lang="en-US" sz="1400" dirty="0">
                <a:solidFill>
                  <a:schemeClr val="accent6"/>
                </a:solidFill>
              </a:endParaRPr>
            </a:p>
          </p:txBody>
        </p:sp>
        <p:sp>
          <p:nvSpPr>
            <p:cNvPr id="317" name="Rectangle 316"/>
            <p:cNvSpPr/>
            <p:nvPr/>
          </p:nvSpPr>
          <p:spPr bwMode="auto">
            <a:xfrm>
              <a:off x="4907039" y="2725792"/>
              <a:ext cx="6135425" cy="331959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lnSpc>
                  <a:spcPct val="130000"/>
                </a:lnSpc>
              </a:pPr>
              <a:r>
                <a:rPr lang="en-US" sz="1400" dirty="0">
                  <a:solidFill>
                    <a:schemeClr val="accent6"/>
                  </a:solidFill>
                </a:rPr>
                <a:t>Prescribe and administer drugs </a:t>
              </a:r>
            </a:p>
          </p:txBody>
        </p:sp>
        <p:sp>
          <p:nvSpPr>
            <p:cNvPr id="318" name="Rectangle 317"/>
            <p:cNvSpPr/>
            <p:nvPr/>
          </p:nvSpPr>
          <p:spPr bwMode="auto">
            <a:xfrm>
              <a:off x="4907039" y="1820678"/>
              <a:ext cx="6135425" cy="331959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accent5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lnSpc>
                  <a:spcPct val="130000"/>
                </a:lnSpc>
              </a:pPr>
              <a:r>
                <a:rPr lang="en-US" sz="1400" dirty="0">
                  <a:solidFill>
                    <a:schemeClr val="accent6"/>
                  </a:solidFill>
                </a:rPr>
                <a:t>Defines patient care in the </a:t>
              </a:r>
              <a:r>
                <a:rPr lang="en-US" sz="1400" dirty="0" smtClean="0">
                  <a:solidFill>
                    <a:schemeClr val="accent6"/>
                  </a:solidFill>
                </a:rPr>
                <a:t>hospital</a:t>
              </a:r>
              <a:endParaRPr lang="en-US" sz="1400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29" name="Rectangle 28"/>
          <p:cNvSpPr/>
          <p:nvPr/>
        </p:nvSpPr>
        <p:spPr bwMode="auto">
          <a:xfrm>
            <a:off x="833890" y="6120136"/>
            <a:ext cx="10556921" cy="412566"/>
          </a:xfrm>
          <a:prstGeom prst="rect">
            <a:avLst/>
          </a:prstGeom>
          <a:solidFill>
            <a:srgbClr val="4BACC6"/>
          </a:solidFill>
          <a:ln w="9525" cap="flat" cmpd="sng" algn="ctr">
            <a:solidFill>
              <a:sysClr val="window" lastClr="FFFFFF"/>
            </a:solidFill>
            <a:prstDash val="solid"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nce nurses</a:t>
            </a:r>
            <a:r>
              <a:rPr kumimoji="0" lang="en-US" sz="1600" b="1" i="1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ave such a huge impact on health outcomes, need for training of nurses was identified</a:t>
            </a:r>
            <a:endParaRPr kumimoji="0" lang="en-IN" sz="1600" b="1" i="1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43186" y="282558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30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NM/GNM</a:t>
            </a:r>
          </a:p>
        </p:txBody>
      </p:sp>
      <p:sp>
        <p:nvSpPr>
          <p:cNvPr id="6" name="Down Arrow 5"/>
          <p:cNvSpPr/>
          <p:nvPr/>
        </p:nvSpPr>
        <p:spPr>
          <a:xfrm>
            <a:off x="5517959" y="3421115"/>
            <a:ext cx="1119352" cy="350552"/>
          </a:xfrm>
          <a:prstGeom prst="downArrow">
            <a:avLst/>
          </a:prstGeom>
          <a:solidFill>
            <a:schemeClr val="accent4">
              <a:lumMod val="5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39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bile Nurse Mentoring Model – On the job, on the site mentoring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/>
              <a:t>2</a:t>
            </a:r>
          </a:p>
        </p:txBody>
      </p:sp>
      <p:grpSp>
        <p:nvGrpSpPr>
          <p:cNvPr id="252" name="Group 251"/>
          <p:cNvGrpSpPr/>
          <p:nvPr/>
        </p:nvGrpSpPr>
        <p:grpSpPr>
          <a:xfrm>
            <a:off x="1171633" y="1253875"/>
            <a:ext cx="9740385" cy="2677664"/>
            <a:chOff x="131487" y="922041"/>
            <a:chExt cx="8854895" cy="2588037"/>
          </a:xfrm>
        </p:grpSpPr>
        <p:grpSp>
          <p:nvGrpSpPr>
            <p:cNvPr id="253" name="Group 252"/>
            <p:cNvGrpSpPr/>
            <p:nvPr/>
          </p:nvGrpSpPr>
          <p:grpSpPr>
            <a:xfrm>
              <a:off x="131487" y="1358522"/>
              <a:ext cx="8854895" cy="1240970"/>
              <a:chOff x="692331" y="1358523"/>
              <a:chExt cx="8177348" cy="1240971"/>
            </a:xfrm>
          </p:grpSpPr>
          <p:sp>
            <p:nvSpPr>
              <p:cNvPr id="265" name="Rectangle 264"/>
              <p:cNvSpPr/>
              <p:nvPr/>
            </p:nvSpPr>
            <p:spPr bwMode="auto">
              <a:xfrm>
                <a:off x="692331" y="1358523"/>
                <a:ext cx="1162595" cy="1240971"/>
              </a:xfrm>
              <a:prstGeom prst="rect">
                <a:avLst/>
              </a:prstGeom>
              <a:solidFill>
                <a:sysClr val="window" lastClr="FFFFFF"/>
              </a:solidFill>
              <a:ln w="12700" cap="sq" cmpd="sng" algn="ctr">
                <a:solidFill>
                  <a:srgbClr val="4BACC6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46800" tIns="45720" rIns="468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Arial" charset="0"/>
                  </a:rPr>
                  <a:t>One Master Mentor (M.Sc. nurse) per 2 teams </a:t>
                </a:r>
              </a:p>
            </p:txBody>
          </p:sp>
          <p:sp>
            <p:nvSpPr>
              <p:cNvPr id="266" name="Rectangle 265"/>
              <p:cNvSpPr/>
              <p:nvPr/>
            </p:nvSpPr>
            <p:spPr bwMode="auto">
              <a:xfrm>
                <a:off x="2246811" y="1358523"/>
                <a:ext cx="1162595" cy="1240971"/>
              </a:xfrm>
              <a:prstGeom prst="rect">
                <a:avLst/>
              </a:prstGeom>
              <a:solidFill>
                <a:sysClr val="window" lastClr="FFFFFF"/>
              </a:solidFill>
              <a:ln w="12700" cap="sq" cmpd="sng" algn="ctr">
                <a:solidFill>
                  <a:srgbClr val="4BACC6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46800" tIns="45720" rIns="468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Arial" charset="0"/>
                  </a:rPr>
                  <a:t>Two Mentors (B.Sc.</a:t>
                </a:r>
                <a:r>
                  <a:rPr kumimoji="0" lang="en-US" sz="1200" b="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Arial" charset="0"/>
                  </a:rPr>
                  <a:t> Nurse) </a:t>
                </a: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Arial" charset="0"/>
                  </a:rPr>
                  <a:t>/ 4 facilities per District</a:t>
                </a:r>
              </a:p>
            </p:txBody>
          </p:sp>
          <p:cxnSp>
            <p:nvCxnSpPr>
              <p:cNvPr id="267" name="Straight Arrow Connector 266"/>
              <p:cNvCxnSpPr>
                <a:stCxn id="265" idx="3"/>
                <a:endCxn id="266" idx="1"/>
              </p:cNvCxnSpPr>
              <p:nvPr/>
            </p:nvCxnSpPr>
            <p:spPr bwMode="auto">
              <a:xfrm>
                <a:off x="1854926" y="1979009"/>
                <a:ext cx="391885" cy="0"/>
              </a:xfrm>
              <a:prstGeom prst="straightConnector1">
                <a:avLst/>
              </a:prstGeom>
              <a:solidFill>
                <a:srgbClr val="4F81BD"/>
              </a:solidFill>
              <a:ln w="12700" cap="sq" cmpd="sng" algn="ctr">
                <a:solidFill>
                  <a:sysClr val="window" lastClr="FFFFFF">
                    <a:lumMod val="75000"/>
                  </a:sysClr>
                </a:solidFill>
                <a:prstDash val="solid"/>
                <a:round/>
                <a:headEnd type="none" w="sm" len="sm"/>
                <a:tailEnd type="arrow"/>
              </a:ln>
              <a:effectLst/>
            </p:spPr>
          </p:cxnSp>
          <p:sp>
            <p:nvSpPr>
              <p:cNvPr id="268" name="Rectangle 267"/>
              <p:cNvSpPr/>
              <p:nvPr/>
            </p:nvSpPr>
            <p:spPr bwMode="auto">
              <a:xfrm>
                <a:off x="4754879" y="1358523"/>
                <a:ext cx="1162595" cy="1240971"/>
              </a:xfrm>
              <a:prstGeom prst="rect">
                <a:avLst/>
              </a:prstGeom>
              <a:solidFill>
                <a:sysClr val="window" lastClr="FFFFFF"/>
              </a:solidFill>
              <a:ln w="12700" cap="sq" cmpd="sng" algn="ctr">
                <a:solidFill>
                  <a:srgbClr val="4BACC6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46800" tIns="45720" rIns="468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prstClr val="black"/>
                    </a:solidFill>
                    <a:latin typeface="Arial"/>
                    <a:cs typeface="Arial" charset="0"/>
                  </a:rPr>
                  <a:t>On-site training and mentoring in </a:t>
                </a:r>
                <a:r>
                  <a:rPr lang="en-US" sz="1200" kern="0" dirty="0" err="1">
                    <a:solidFill>
                      <a:prstClr val="black"/>
                    </a:solidFill>
                    <a:latin typeface="Arial"/>
                    <a:cs typeface="Arial" charset="0"/>
                  </a:rPr>
                  <a:t>labour</a:t>
                </a:r>
                <a:r>
                  <a:rPr lang="en-US" sz="1200" kern="0" dirty="0">
                    <a:solidFill>
                      <a:prstClr val="black"/>
                    </a:solidFill>
                    <a:latin typeface="Arial"/>
                    <a:cs typeface="Arial" charset="0"/>
                  </a:rPr>
                  <a:t> rooms/ NBCCs/ OTs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 charset="0"/>
                </a:endParaRPr>
              </a:p>
            </p:txBody>
          </p:sp>
          <p:sp>
            <p:nvSpPr>
              <p:cNvPr id="269" name="Rectangle 268"/>
              <p:cNvSpPr/>
              <p:nvPr/>
            </p:nvSpPr>
            <p:spPr bwMode="auto">
              <a:xfrm>
                <a:off x="6230982" y="1358523"/>
                <a:ext cx="1162595" cy="1240971"/>
              </a:xfrm>
              <a:prstGeom prst="rect">
                <a:avLst/>
              </a:prstGeom>
              <a:solidFill>
                <a:sysClr val="window" lastClr="FFFFFF"/>
              </a:solidFill>
              <a:ln w="12700" cap="sq" cmpd="sng" algn="ctr">
                <a:solidFill>
                  <a:srgbClr val="4BACC6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46800" tIns="45720" rIns="468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prstClr val="black"/>
                    </a:solidFill>
                    <a:latin typeface="Arial"/>
                    <a:cs typeface="Arial" charset="0"/>
                  </a:rPr>
                  <a:t>Mini Skill Lab- Simulation trials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 charset="0"/>
                </a:endParaRPr>
              </a:p>
            </p:txBody>
          </p:sp>
          <p:sp>
            <p:nvSpPr>
              <p:cNvPr id="270" name="Rectangle 269"/>
              <p:cNvSpPr/>
              <p:nvPr/>
            </p:nvSpPr>
            <p:spPr bwMode="auto">
              <a:xfrm>
                <a:off x="7707084" y="1358523"/>
                <a:ext cx="1162595" cy="1240971"/>
              </a:xfrm>
              <a:prstGeom prst="rect">
                <a:avLst/>
              </a:prstGeom>
              <a:solidFill>
                <a:sysClr val="window" lastClr="FFFFFF"/>
              </a:solidFill>
              <a:ln w="12700" cap="sq" cmpd="sng" algn="ctr">
                <a:solidFill>
                  <a:srgbClr val="4BACC6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46800" tIns="45720" rIns="468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 smtClean="0">
                    <a:solidFill>
                      <a:prstClr val="black"/>
                    </a:solidFill>
                    <a:latin typeface="Arial"/>
                    <a:cs typeface="Arial" charset="0"/>
                  </a:rPr>
                  <a:t>Use </a:t>
                </a:r>
                <a:r>
                  <a:rPr lang="en-US" sz="1200" kern="0" dirty="0">
                    <a:solidFill>
                      <a:prstClr val="black"/>
                    </a:solidFill>
                    <a:latin typeface="Arial"/>
                    <a:cs typeface="Arial" charset="0"/>
                  </a:rPr>
                  <a:t>of Audio video material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 charset="0"/>
                </a:endParaRPr>
              </a:p>
            </p:txBody>
          </p:sp>
        </p:grpSp>
        <p:pic>
          <p:nvPicPr>
            <p:cNvPr id="254" name="Picture 1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2200" y="2660708"/>
              <a:ext cx="377498" cy="8493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55" name="Group 254"/>
            <p:cNvGrpSpPr/>
            <p:nvPr/>
          </p:nvGrpSpPr>
          <p:grpSpPr>
            <a:xfrm>
              <a:off x="2043474" y="2685318"/>
              <a:ext cx="801508" cy="800147"/>
              <a:chOff x="2583629" y="2951584"/>
              <a:chExt cx="801508" cy="1100153"/>
            </a:xfrm>
          </p:grpSpPr>
          <p:pic>
            <p:nvPicPr>
              <p:cNvPr id="263" name="Picture 11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2583629" y="2951584"/>
                <a:ext cx="421727" cy="11001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64" name="Picture 11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3005356" y="2951584"/>
                <a:ext cx="379781" cy="11001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256" name="Group 255"/>
            <p:cNvGrpSpPr/>
            <p:nvPr/>
          </p:nvGrpSpPr>
          <p:grpSpPr>
            <a:xfrm>
              <a:off x="6329394" y="2727270"/>
              <a:ext cx="905677" cy="665863"/>
              <a:chOff x="3088833" y="4292600"/>
              <a:chExt cx="2089149" cy="1084262"/>
            </a:xfrm>
          </p:grpSpPr>
          <p:pic>
            <p:nvPicPr>
              <p:cNvPr id="261" name="Picture 1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3088833" y="4324628"/>
                <a:ext cx="1079499" cy="1019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62" name="Picture 1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241357" y="4292600"/>
                <a:ext cx="936625" cy="10842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257" name="Picture 14" descr="imagesCAETLZON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055866" y="2776837"/>
              <a:ext cx="808038" cy="730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8" name="Picture 15" descr="Indian_Nurses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866299" y="2685318"/>
              <a:ext cx="677210" cy="7985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9" name="Rectangle 258"/>
            <p:cNvSpPr/>
            <p:nvPr/>
          </p:nvSpPr>
          <p:spPr bwMode="auto">
            <a:xfrm>
              <a:off x="131487" y="922041"/>
              <a:ext cx="2935000" cy="363539"/>
            </a:xfrm>
            <a:prstGeom prst="rect">
              <a:avLst/>
            </a:prstGeom>
            <a:solidFill>
              <a:srgbClr val="C00000"/>
            </a:solidFill>
            <a:ln w="12700" cap="sq" cmpd="sng" algn="ctr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charset="0"/>
                </a:rPr>
                <a:t>Trainers</a:t>
              </a:r>
            </a:p>
          </p:txBody>
        </p:sp>
        <p:sp>
          <p:nvSpPr>
            <p:cNvPr id="260" name="Rectangle 259"/>
            <p:cNvSpPr/>
            <p:nvPr/>
          </p:nvSpPr>
          <p:spPr bwMode="auto">
            <a:xfrm>
              <a:off x="4530644" y="922043"/>
              <a:ext cx="4455738" cy="363539"/>
            </a:xfrm>
            <a:prstGeom prst="rect">
              <a:avLst/>
            </a:prstGeom>
            <a:solidFill>
              <a:srgbClr val="C00000"/>
            </a:solidFill>
            <a:ln w="12700" cap="sq" cmpd="sng" algn="ctr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charset="0"/>
                </a:rPr>
                <a:t>Types of training sessions</a:t>
              </a:r>
            </a:p>
          </p:txBody>
        </p:sp>
      </p:grpSp>
      <p:sp>
        <p:nvSpPr>
          <p:cNvPr id="295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05665" y="4500772"/>
            <a:ext cx="11481565" cy="1599727"/>
            <a:chOff x="163771" y="4611134"/>
            <a:chExt cx="11481565" cy="1599727"/>
          </a:xfrm>
        </p:grpSpPr>
        <p:sp>
          <p:nvSpPr>
            <p:cNvPr id="3" name="Freeform 2"/>
            <p:cNvSpPr/>
            <p:nvPr/>
          </p:nvSpPr>
          <p:spPr>
            <a:xfrm>
              <a:off x="163771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Basic Nursing Procedures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  <p:sp>
          <p:nvSpPr>
            <p:cNvPr id="4" name="Freeform 3"/>
            <p:cNvSpPr/>
            <p:nvPr/>
          </p:nvSpPr>
          <p:spPr>
            <a:xfrm>
              <a:off x="1618131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Antenatal/ Intra-natal/ Postnatal care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  <p:sp>
          <p:nvSpPr>
            <p:cNvPr id="5" name="Freeform 4"/>
            <p:cNvSpPr/>
            <p:nvPr/>
          </p:nvSpPr>
          <p:spPr>
            <a:xfrm>
              <a:off x="3072491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New born Care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  <p:sp>
          <p:nvSpPr>
            <p:cNvPr id="6" name="Freeform 5"/>
            <p:cNvSpPr/>
            <p:nvPr/>
          </p:nvSpPr>
          <p:spPr>
            <a:xfrm>
              <a:off x="4526851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Early identification, management and referral of complications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5981211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Infection Control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7435571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Family Planning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8889931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Team Building, Value Sensitization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163772" y="4611134"/>
              <a:ext cx="11481564" cy="484673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2700" cap="sq" cmpd="sng" algn="ctr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i="1" kern="0" dirty="0" smtClean="0">
                  <a:solidFill>
                    <a:prstClr val="white"/>
                  </a:solidFill>
                  <a:latin typeface="Arial"/>
                  <a:cs typeface="Arial" charset="0"/>
                </a:rPr>
                <a:t>Aspects of training</a:t>
              </a:r>
              <a:endPara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10344289" y="5171845"/>
              <a:ext cx="1301046" cy="1039016"/>
            </a:xfrm>
            <a:custGeom>
              <a:avLst/>
              <a:gdLst>
                <a:gd name="connsiteX0" fmla="*/ 0 w 1431151"/>
                <a:gd name="connsiteY0" fmla="*/ 0 h 858691"/>
                <a:gd name="connsiteX1" fmla="*/ 1431151 w 1431151"/>
                <a:gd name="connsiteY1" fmla="*/ 0 h 858691"/>
                <a:gd name="connsiteX2" fmla="*/ 1431151 w 1431151"/>
                <a:gd name="connsiteY2" fmla="*/ 858691 h 858691"/>
                <a:gd name="connsiteX3" fmla="*/ 0 w 1431151"/>
                <a:gd name="connsiteY3" fmla="*/ 858691 h 858691"/>
                <a:gd name="connsiteX4" fmla="*/ 0 w 1431151"/>
                <a:gd name="connsiteY4" fmla="*/ 0 h 85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1151" h="858691">
                  <a:moveTo>
                    <a:pt x="0" y="0"/>
                  </a:moveTo>
                  <a:lnTo>
                    <a:pt x="1431151" y="0"/>
                  </a:lnTo>
                  <a:lnTo>
                    <a:pt x="1431151" y="858691"/>
                  </a:lnTo>
                  <a:lnTo>
                    <a:pt x="0" y="8586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solidFill>
                    <a:schemeClr val="accent6"/>
                  </a:solidFill>
                </a:rPr>
                <a:t>Record Keeping/documentation</a:t>
              </a:r>
              <a:endParaRPr lang="en-US" sz="1400" kern="1200" dirty="0">
                <a:solidFill>
                  <a:schemeClr val="accent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2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thods of mentoring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/>
              <a:t>2</a:t>
            </a:r>
          </a:p>
        </p:txBody>
      </p:sp>
      <p:sp>
        <p:nvSpPr>
          <p:cNvPr id="295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89170" y="1119967"/>
            <a:ext cx="5617789" cy="2537628"/>
          </a:xfrm>
          <a:prstGeom prst="rect">
            <a:avLst/>
          </a:prstGeom>
          <a:solidFill>
            <a:sysClr val="window" lastClr="FFFFFF"/>
          </a:solidFill>
          <a:ln w="12700" cap="sq" cmpd="sng" algn="ctr">
            <a:solidFill>
              <a:srgbClr val="4BACC6">
                <a:lumMod val="75000"/>
              </a:srgb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charset="0"/>
              </a:rPr>
              <a:t>Bedside Mentoring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189170" y="3847402"/>
            <a:ext cx="5617789" cy="2537628"/>
          </a:xfrm>
          <a:prstGeom prst="rect">
            <a:avLst/>
          </a:prstGeom>
          <a:solidFill>
            <a:sysClr val="window" lastClr="FFFFFF"/>
          </a:solidFill>
          <a:ln w="12700" cap="sq" cmpd="sng" algn="ctr">
            <a:solidFill>
              <a:srgbClr val="4BACC6">
                <a:lumMod val="75000"/>
              </a:srgb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charset="0"/>
              </a:rPr>
              <a:t>Demonstrations</a:t>
            </a:r>
            <a:r>
              <a:rPr kumimoji="0" lang="en-US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charset="0"/>
              </a:rPr>
              <a:t> &amp; Discussions</a:t>
            </a:r>
            <a:endParaRPr kumimoji="0" lang="en-US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6006635" y="3863168"/>
            <a:ext cx="5617789" cy="2537628"/>
          </a:xfrm>
          <a:prstGeom prst="rect">
            <a:avLst/>
          </a:prstGeom>
          <a:solidFill>
            <a:sysClr val="window" lastClr="FFFFFF"/>
          </a:solidFill>
          <a:ln w="12700" cap="sq" cmpd="sng" algn="ctr">
            <a:solidFill>
              <a:srgbClr val="4BACC6">
                <a:lumMod val="75000"/>
              </a:srgb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charset="0"/>
              </a:rPr>
              <a:t>Activities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6006635" y="1119967"/>
            <a:ext cx="5617789" cy="2537628"/>
          </a:xfrm>
          <a:prstGeom prst="rect">
            <a:avLst/>
          </a:prstGeom>
          <a:solidFill>
            <a:sysClr val="window" lastClr="FFFFFF"/>
          </a:solidFill>
          <a:ln w="12700" cap="sq" cmpd="sng" algn="ctr">
            <a:solidFill>
              <a:srgbClr val="4BACC6">
                <a:lumMod val="75000"/>
              </a:srgb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 charset="0"/>
              </a:rPr>
              <a:t>Simulations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60796" y="1560794"/>
            <a:ext cx="3217089" cy="195615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20802" t="33796" r="7716" b="18518"/>
          <a:stretch/>
        </p:blipFill>
        <p:spPr>
          <a:xfrm>
            <a:off x="2360796" y="1560794"/>
            <a:ext cx="1745523" cy="18621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l="23785" r="9201"/>
          <a:stretch/>
        </p:blipFill>
        <p:spPr>
          <a:xfrm>
            <a:off x="621404" y="1624383"/>
            <a:ext cx="1623177" cy="1798606"/>
          </a:xfrm>
          <a:prstGeom prst="rect">
            <a:avLst/>
          </a:prstGeom>
        </p:spPr>
      </p:pic>
      <p:pic>
        <p:nvPicPr>
          <p:cNvPr id="38" name="Content Placeholder 3" descr="G:\PICTURES\altAroQ_e56lTsHiSw-MhEWJsRrlyoXVnyKL0kXH1EJLZ_o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19892" y="1477246"/>
            <a:ext cx="1609780" cy="20928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" name="Picture 2" descr="G:\PICTURES\simulation\P1010674.JPG"/>
          <p:cNvPicPr>
            <a:picLocks noChangeAspect="1" noChangeArrowheads="1"/>
          </p:cNvPicPr>
          <p:nvPr/>
        </p:nvPicPr>
        <p:blipFill>
          <a:blip r:embed="rId9" cstate="print">
            <a:lum contrast="40000"/>
          </a:blip>
          <a:srcRect/>
          <a:stretch>
            <a:fillRect/>
          </a:stretch>
        </p:blipFill>
        <p:spPr bwMode="auto">
          <a:xfrm>
            <a:off x="8103588" y="1533209"/>
            <a:ext cx="3023674" cy="19295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0" name="Picture 2" descr="C:\Users\dell\Documents\facility pics\IMG_20150316_145048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13" b="27674"/>
          <a:stretch/>
        </p:blipFill>
        <p:spPr bwMode="auto">
          <a:xfrm>
            <a:off x="564803" y="4298616"/>
            <a:ext cx="2976852" cy="1902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C:\Users\dell\Desktop\MNMT\20150304_110246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1" t="13032" r="8916"/>
          <a:stretch/>
        </p:blipFill>
        <p:spPr bwMode="auto">
          <a:xfrm>
            <a:off x="3676699" y="4387411"/>
            <a:ext cx="1964909" cy="177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" descr="C:\Users\dell\Documents\facility pics\IMG_20150321_143739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39"/>
          <a:stretch/>
        </p:blipFill>
        <p:spPr bwMode="auto">
          <a:xfrm>
            <a:off x="8901887" y="4284032"/>
            <a:ext cx="2593732" cy="194815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C:\Users\dell\Desktop\MNMT REPORT\photos of 1st &amp; 2nd week\20150310_113704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9" b="3489"/>
          <a:stretch>
            <a:fillRect/>
          </a:stretch>
        </p:blipFill>
        <p:spPr bwMode="auto">
          <a:xfrm>
            <a:off x="6151040" y="4360448"/>
            <a:ext cx="2719315" cy="177875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446396" y="65584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300" dirty="0" smtClean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33557" y="65584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30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  <a:hlinkClick r:id="rId14" action="ppaction://hlinkfile"/>
              </a:rPr>
              <a:t>Simulation Video -PPH</a:t>
            </a:r>
            <a:endParaRPr lang="en-US" sz="1300" dirty="0" smtClean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79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e-requisites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/>
              <a:t>2</a:t>
            </a:r>
          </a:p>
        </p:txBody>
      </p:sp>
      <p:sp>
        <p:nvSpPr>
          <p:cNvPr id="295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510928" y="1253480"/>
            <a:ext cx="5180419" cy="484673"/>
          </a:xfrm>
          <a:prstGeom prst="rect">
            <a:avLst/>
          </a:prstGeom>
          <a:solidFill>
            <a:srgbClr val="C00000"/>
          </a:solidFill>
          <a:ln w="12700" cap="sq" cmpd="sng" algn="ctr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i="1" kern="0" dirty="0">
                <a:solidFill>
                  <a:prstClr val="white"/>
                </a:solidFill>
                <a:latin typeface="Arial"/>
                <a:cs typeface="Arial" charset="0"/>
              </a:rPr>
              <a:t>Selection and facility preparednes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10928" y="1810883"/>
            <a:ext cx="5180419" cy="4810633"/>
          </a:xfrm>
          <a:prstGeom prst="rect">
            <a:avLst/>
          </a:prstGeom>
          <a:solidFill>
            <a:sysClr val="window" lastClr="FFFFFF"/>
          </a:solidFill>
          <a:ln w="12700" cap="sq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dirty="0">
                <a:solidFill>
                  <a:schemeClr val="accent6"/>
                </a:solidFill>
              </a:rPr>
              <a:t>Selection based on criteria by the </a:t>
            </a:r>
            <a:r>
              <a:rPr lang="en-US" sz="1600" dirty="0" smtClean="0">
                <a:solidFill>
                  <a:schemeClr val="accent6"/>
                </a:solidFill>
              </a:rPr>
              <a:t>district authority.</a:t>
            </a:r>
            <a:endParaRPr lang="en-US" sz="1600" dirty="0">
              <a:solidFill>
                <a:schemeClr val="accent6"/>
              </a:solidFill>
            </a:endParaRP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dirty="0">
                <a:solidFill>
                  <a:schemeClr val="accent6"/>
                </a:solidFill>
              </a:rPr>
              <a:t>Complementary quality improvement interventions in facilities :</a:t>
            </a:r>
          </a:p>
          <a:p>
            <a:pPr marL="742950" lvl="1" indent="-285750">
              <a:lnSpc>
                <a:spcPct val="130000"/>
              </a:lnSpc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accent6"/>
                </a:solidFill>
              </a:rPr>
              <a:t> Gap Analysis</a:t>
            </a:r>
          </a:p>
          <a:p>
            <a:pPr marL="742950" lvl="1" indent="-285750">
              <a:lnSpc>
                <a:spcPct val="130000"/>
              </a:lnSpc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accent6"/>
                </a:solidFill>
              </a:rPr>
              <a:t>Supporting the hospital authority to plan the budget</a:t>
            </a:r>
          </a:p>
          <a:p>
            <a:pPr marL="742950" lvl="1" indent="-285750">
              <a:lnSpc>
                <a:spcPct val="130000"/>
              </a:lnSpc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accent6"/>
                </a:solidFill>
              </a:rPr>
              <a:t>Infrastructure strengthening</a:t>
            </a:r>
          </a:p>
          <a:p>
            <a:pPr marL="742950" lvl="1" indent="-285750">
              <a:lnSpc>
                <a:spcPct val="130000"/>
              </a:lnSpc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accent6"/>
                </a:solidFill>
              </a:rPr>
              <a:t>Ensuring the availability and accessibility to supplies</a:t>
            </a: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6028859" y="1810884"/>
            <a:ext cx="5180419" cy="4810632"/>
          </a:xfrm>
          <a:prstGeom prst="rect">
            <a:avLst/>
          </a:prstGeom>
          <a:solidFill>
            <a:sysClr val="window" lastClr="FFFFFF"/>
          </a:solidFill>
          <a:ln w="12700" cap="sq" cmpd="sng" algn="ctr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285750" indent="-285750">
              <a:lnSpc>
                <a:spcPct val="130000"/>
              </a:lnSpc>
              <a:buFont typeface="Arial"/>
              <a:buChar char="•"/>
            </a:pPr>
            <a:endParaRPr lang="en-US" sz="1600" dirty="0" smtClean="0">
              <a:solidFill>
                <a:schemeClr val="accent6"/>
              </a:solidFill>
            </a:endParaRP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endParaRPr lang="en-US" sz="1600" dirty="0">
              <a:solidFill>
                <a:schemeClr val="accent6"/>
              </a:solidFill>
            </a:endParaRP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endParaRPr lang="en-US" sz="1600" dirty="0" smtClean="0">
              <a:solidFill>
                <a:schemeClr val="accent6"/>
              </a:solidFill>
            </a:endParaRP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dirty="0" smtClean="0">
                <a:solidFill>
                  <a:schemeClr val="accent6"/>
                </a:solidFill>
              </a:rPr>
              <a:t>A </a:t>
            </a:r>
            <a:r>
              <a:rPr lang="en-US" sz="1600" dirty="0">
                <a:solidFill>
                  <a:schemeClr val="accent6"/>
                </a:solidFill>
              </a:rPr>
              <a:t>well planned </a:t>
            </a:r>
            <a:r>
              <a:rPr lang="en-US" sz="1600" b="1" dirty="0">
                <a:solidFill>
                  <a:schemeClr val="accent6"/>
                </a:solidFill>
              </a:rPr>
              <a:t>flexible curriculum </a:t>
            </a:r>
            <a:r>
              <a:rPr lang="en-US" sz="1600" dirty="0">
                <a:solidFill>
                  <a:schemeClr val="accent6"/>
                </a:solidFill>
              </a:rPr>
              <a:t>with learning goals for each week and month.</a:t>
            </a:r>
          </a:p>
          <a:p>
            <a:pPr marL="800100" lvl="1" indent="-342900">
              <a:lnSpc>
                <a:spcPct val="130000"/>
              </a:lnSpc>
              <a:buFont typeface="Wingdings" charset="2"/>
              <a:buChar char="q"/>
            </a:pPr>
            <a:r>
              <a:rPr lang="en-US" sz="1600" b="1" dirty="0">
                <a:solidFill>
                  <a:schemeClr val="accent6"/>
                </a:solidFill>
              </a:rPr>
              <a:t>Lesson plans </a:t>
            </a:r>
            <a:r>
              <a:rPr lang="en-US" sz="1600" dirty="0">
                <a:solidFill>
                  <a:schemeClr val="accent6"/>
                </a:solidFill>
              </a:rPr>
              <a:t>for all the topics in the curriculum</a:t>
            </a:r>
          </a:p>
          <a:p>
            <a:pPr marL="800100" lvl="1" indent="-342900">
              <a:lnSpc>
                <a:spcPct val="130000"/>
              </a:lnSpc>
              <a:buFont typeface="Wingdings" charset="2"/>
              <a:buChar char="q"/>
            </a:pPr>
            <a:r>
              <a:rPr lang="en-US" sz="1600" b="1" dirty="0" err="1">
                <a:solidFill>
                  <a:schemeClr val="accent6"/>
                </a:solidFill>
              </a:rPr>
              <a:t>Simpacks</a:t>
            </a:r>
            <a:r>
              <a:rPr lang="en-US" sz="1600" b="1" dirty="0">
                <a:solidFill>
                  <a:schemeClr val="accent6"/>
                </a:solidFill>
              </a:rPr>
              <a:t> </a:t>
            </a:r>
            <a:r>
              <a:rPr lang="en-US" sz="1600" dirty="0">
                <a:solidFill>
                  <a:schemeClr val="accent6"/>
                </a:solidFill>
              </a:rPr>
              <a:t>for all the complication-based simulations</a:t>
            </a:r>
          </a:p>
          <a:p>
            <a:pPr marL="800100" lvl="1" indent="-342900">
              <a:lnSpc>
                <a:spcPct val="130000"/>
              </a:lnSpc>
              <a:buFont typeface="Wingdings" charset="2"/>
              <a:buChar char="q"/>
            </a:pPr>
            <a:r>
              <a:rPr lang="en-US" sz="1600" b="1" dirty="0">
                <a:solidFill>
                  <a:schemeClr val="accent6"/>
                </a:solidFill>
              </a:rPr>
              <a:t>Activity plans</a:t>
            </a:r>
            <a:endParaRPr lang="en-US" sz="1600" dirty="0">
              <a:solidFill>
                <a:schemeClr val="accent6"/>
              </a:solidFill>
            </a:endParaRP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b="1" dirty="0">
                <a:solidFill>
                  <a:schemeClr val="accent6"/>
                </a:solidFill>
              </a:rPr>
              <a:t>Mannequins </a:t>
            </a:r>
            <a:r>
              <a:rPr lang="en-US" sz="1600" dirty="0">
                <a:solidFill>
                  <a:schemeClr val="accent6"/>
                </a:solidFill>
              </a:rPr>
              <a:t>for demonstration</a:t>
            </a: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b="1" dirty="0">
                <a:solidFill>
                  <a:schemeClr val="accent6"/>
                </a:solidFill>
              </a:rPr>
              <a:t>Video library </a:t>
            </a:r>
            <a:r>
              <a:rPr lang="en-US" sz="1600" dirty="0">
                <a:solidFill>
                  <a:schemeClr val="accent6"/>
                </a:solidFill>
              </a:rPr>
              <a:t>– GOI, WHO, UNICEF </a:t>
            </a:r>
            <a:r>
              <a:rPr lang="en-US" sz="1600" dirty="0" err="1">
                <a:solidFill>
                  <a:schemeClr val="accent6"/>
                </a:solidFill>
              </a:rPr>
              <a:t>etc</a:t>
            </a:r>
            <a:endParaRPr lang="en-US" sz="1600" dirty="0">
              <a:solidFill>
                <a:schemeClr val="accent6"/>
              </a:solidFill>
            </a:endParaRPr>
          </a:p>
          <a:p>
            <a:pPr marL="742950" lvl="1" indent="-285750">
              <a:lnSpc>
                <a:spcPct val="130000"/>
              </a:lnSpc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accent6"/>
                </a:solidFill>
              </a:rPr>
              <a:t>English videos dubbed in Hindi for better understanding of mentees.</a:t>
            </a: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b="1" dirty="0">
                <a:solidFill>
                  <a:schemeClr val="accent6"/>
                </a:solidFill>
              </a:rPr>
              <a:t>Video camera </a:t>
            </a:r>
            <a:r>
              <a:rPr lang="en-US" sz="1600" dirty="0">
                <a:solidFill>
                  <a:schemeClr val="accent6"/>
                </a:solidFill>
              </a:rPr>
              <a:t>for recording simulations and playback for de-briefing.</a:t>
            </a: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b="1" dirty="0">
                <a:solidFill>
                  <a:schemeClr val="accent6"/>
                </a:solidFill>
              </a:rPr>
              <a:t>Guidelines &amp; protocols Library</a:t>
            </a:r>
            <a:r>
              <a:rPr lang="en-US" sz="1600" dirty="0">
                <a:solidFill>
                  <a:schemeClr val="accent6"/>
                </a:solidFill>
              </a:rPr>
              <a:t>- GOI, WHO</a:t>
            </a: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r>
              <a:rPr lang="en-US" sz="1600" b="1" dirty="0">
                <a:solidFill>
                  <a:schemeClr val="accent6"/>
                </a:solidFill>
              </a:rPr>
              <a:t>Modules</a:t>
            </a:r>
            <a:r>
              <a:rPr lang="en-US" sz="1600" dirty="0">
                <a:solidFill>
                  <a:schemeClr val="accent6"/>
                </a:solidFill>
              </a:rPr>
              <a:t> in Hindi for all the mentees. </a:t>
            </a: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endParaRPr lang="en-US" sz="1600" dirty="0">
              <a:solidFill>
                <a:schemeClr val="accent6"/>
              </a:solidFill>
            </a:endParaRP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endParaRPr lang="en-US" sz="1600" dirty="0">
              <a:solidFill>
                <a:schemeClr val="accent6"/>
              </a:solidFill>
            </a:endParaRPr>
          </a:p>
          <a:p>
            <a:pPr marL="285750" indent="-285750">
              <a:lnSpc>
                <a:spcPct val="130000"/>
              </a:lnSpc>
              <a:buFont typeface="Arial"/>
              <a:buChar char="•"/>
            </a:pP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028859" y="1256246"/>
            <a:ext cx="5180419" cy="484673"/>
          </a:xfrm>
          <a:prstGeom prst="rect">
            <a:avLst/>
          </a:prstGeom>
          <a:solidFill>
            <a:srgbClr val="C00000"/>
          </a:solidFill>
          <a:ln w="12700" cap="sq" cmpd="sng" algn="ctr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i="1" kern="0" dirty="0">
                <a:solidFill>
                  <a:prstClr val="white"/>
                </a:solidFill>
                <a:latin typeface="Arial"/>
                <a:cs typeface="Arial" charset="0"/>
              </a:rPr>
              <a:t>Pre-training </a:t>
            </a:r>
            <a:r>
              <a:rPr lang="en-US" sz="1600" b="1" i="1" kern="0" dirty="0" smtClean="0">
                <a:solidFill>
                  <a:prstClr val="white"/>
                </a:solidFill>
                <a:latin typeface="Arial"/>
                <a:cs typeface="Arial" charset="0"/>
              </a:rPr>
              <a:t>preparations</a:t>
            </a:r>
            <a:endParaRPr lang="en-US" sz="1600" b="1" i="1" kern="0" dirty="0">
              <a:solidFill>
                <a:prstClr val="white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80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94128" y="638690"/>
            <a:ext cx="11797872" cy="3483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e-requisites – Availability of mentors</a:t>
            </a:r>
            <a:endParaRPr lang="en-IN" sz="2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/>
              <a:t>2</a:t>
            </a:r>
          </a:p>
        </p:txBody>
      </p:sp>
      <p:sp>
        <p:nvSpPr>
          <p:cNvPr id="295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86029" y="2709761"/>
            <a:ext cx="3538295" cy="2415107"/>
            <a:chOff x="527923" y="2709761"/>
            <a:chExt cx="3538295" cy="2415107"/>
          </a:xfrm>
        </p:grpSpPr>
        <p:sp>
          <p:nvSpPr>
            <p:cNvPr id="9" name="Rectangle 8"/>
            <p:cNvSpPr/>
            <p:nvPr/>
          </p:nvSpPr>
          <p:spPr bwMode="auto">
            <a:xfrm>
              <a:off x="527923" y="2709761"/>
              <a:ext cx="3538295" cy="400556"/>
            </a:xfrm>
            <a:prstGeom prst="rect">
              <a:avLst/>
            </a:prstGeom>
            <a:solidFill>
              <a:srgbClr val="C00000"/>
            </a:solidFill>
            <a:ln w="12700" cap="sq" cmpd="sng" algn="ctr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i="1" kern="0" dirty="0" smtClean="0">
                  <a:solidFill>
                    <a:prstClr val="white"/>
                  </a:solidFill>
                  <a:latin typeface="Arial"/>
                  <a:cs typeface="Arial" charset="0"/>
                </a:rPr>
                <a:t>Appointment of mentors</a:t>
              </a:r>
              <a:endPara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527923" y="3230856"/>
              <a:ext cx="3538295" cy="1894012"/>
            </a:xfrm>
            <a:prstGeom prst="rect">
              <a:avLst/>
            </a:prstGeom>
            <a:solidFill>
              <a:sysClr val="window" lastClr="FFFFFF"/>
            </a:solidFill>
            <a:ln w="12700" cap="sq" cmpd="sng" algn="ctr">
              <a:solidFill>
                <a:srgbClr val="C00000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50000"/>
                </a:lnSpc>
              </a:pPr>
              <a:r>
                <a:rPr lang="en-US" sz="1600" b="1" dirty="0" smtClean="0">
                  <a:solidFill>
                    <a:schemeClr val="accent6"/>
                  </a:solidFill>
                </a:rPr>
                <a:t>Stringent selection process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 err="1" smtClean="0">
                  <a:solidFill>
                    <a:schemeClr val="accent6"/>
                  </a:solidFill>
                </a:rPr>
                <a:t>B.Sc</a:t>
              </a:r>
              <a:r>
                <a:rPr lang="en-US" sz="1600" dirty="0" smtClean="0">
                  <a:solidFill>
                    <a:schemeClr val="accent6"/>
                  </a:solidFill>
                </a:rPr>
                <a:t> </a:t>
              </a:r>
              <a:r>
                <a:rPr lang="en-US" sz="1600" dirty="0">
                  <a:solidFill>
                    <a:schemeClr val="accent6"/>
                  </a:solidFill>
                </a:rPr>
                <a:t>Nurses as Nurse Mentors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 err="1">
                  <a:solidFill>
                    <a:schemeClr val="accent6"/>
                  </a:solidFill>
                </a:rPr>
                <a:t>M.Sc</a:t>
              </a:r>
              <a:r>
                <a:rPr lang="en-US" sz="1600" dirty="0">
                  <a:solidFill>
                    <a:schemeClr val="accent6"/>
                  </a:solidFill>
                </a:rPr>
                <a:t> Nurses as Master </a:t>
              </a:r>
              <a:r>
                <a:rPr lang="en-US" sz="1600" dirty="0" smtClean="0">
                  <a:solidFill>
                    <a:schemeClr val="accent6"/>
                  </a:solidFill>
                </a:rPr>
                <a:t>Mentors</a:t>
              </a:r>
            </a:p>
            <a:p>
              <a:pPr marL="800100" lvl="1" indent="-342900">
                <a:lnSpc>
                  <a:spcPct val="150000"/>
                </a:lnSpc>
                <a:buFont typeface="Wingdings" charset="2"/>
                <a:buChar char="q"/>
              </a:pPr>
              <a:endParaRPr lang="en-US" sz="1600" b="1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443693" y="2662463"/>
            <a:ext cx="3483338" cy="3059881"/>
            <a:chOff x="8443693" y="2662463"/>
            <a:chExt cx="3483338" cy="3059881"/>
          </a:xfrm>
        </p:grpSpPr>
        <p:sp>
          <p:nvSpPr>
            <p:cNvPr id="11" name="Rectangle 10"/>
            <p:cNvSpPr/>
            <p:nvPr/>
          </p:nvSpPr>
          <p:spPr bwMode="auto">
            <a:xfrm>
              <a:off x="8443693" y="3134649"/>
              <a:ext cx="3483338" cy="2587695"/>
            </a:xfrm>
            <a:prstGeom prst="rect">
              <a:avLst/>
            </a:prstGeom>
            <a:solidFill>
              <a:sysClr val="window" lastClr="FFFFFF"/>
            </a:solidFill>
            <a:ln w="12700" cap="sq" cmpd="sng" algn="ctr">
              <a:solidFill>
                <a:schemeClr val="accent3">
                  <a:lumMod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30000"/>
                </a:lnSpc>
                <a:buFont typeface="Wingdings" panose="05000000000000000000" pitchFamily="2" charset="2"/>
                <a:buChar char="ü"/>
              </a:pPr>
              <a:endParaRPr lang="en-US" sz="1600" dirty="0" smtClean="0">
                <a:solidFill>
                  <a:schemeClr val="accent6"/>
                </a:solidFill>
              </a:endParaRPr>
            </a:p>
            <a:p>
              <a:pPr marL="284163" lvl="1" indent="-284163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 smtClean="0">
                  <a:solidFill>
                    <a:schemeClr val="accent6"/>
                  </a:solidFill>
                </a:rPr>
                <a:t>Decent </a:t>
              </a:r>
              <a:r>
                <a:rPr lang="en-US" sz="1600" dirty="0">
                  <a:solidFill>
                    <a:schemeClr val="accent6"/>
                  </a:solidFill>
                </a:rPr>
                <a:t>Salary</a:t>
              </a:r>
            </a:p>
            <a:p>
              <a:pPr marL="284163" lvl="1" indent="-284163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Comfortable Stay at the district head quarters with proper security</a:t>
              </a:r>
            </a:p>
            <a:p>
              <a:pPr marL="284163" lvl="1" indent="-284163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Appropriate Transportation system</a:t>
              </a:r>
            </a:p>
            <a:p>
              <a:pPr marL="284163" lvl="1" indent="-284163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Flexible Curriculum</a:t>
              </a:r>
            </a:p>
            <a:p>
              <a:pPr marL="284163" lvl="1" indent="-284163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 smtClean="0">
                  <a:solidFill>
                    <a:schemeClr val="accent6"/>
                  </a:solidFill>
                </a:rPr>
                <a:t>Supportive </a:t>
              </a:r>
              <a:r>
                <a:rPr lang="en-US" sz="1600" dirty="0">
                  <a:solidFill>
                    <a:schemeClr val="accent6"/>
                  </a:solidFill>
                </a:rPr>
                <a:t>Supervision</a:t>
              </a:r>
            </a:p>
            <a:p>
              <a:pPr marL="800100" lvl="1" indent="-342900">
                <a:lnSpc>
                  <a:spcPct val="130000"/>
                </a:lnSpc>
                <a:buFont typeface="Wingdings" charset="2"/>
                <a:buChar char="q"/>
              </a:pPr>
              <a:endParaRPr lang="en-US" sz="1600" b="1" dirty="0">
                <a:solidFill>
                  <a:schemeClr val="accent6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8447020" y="2662463"/>
              <a:ext cx="3468576" cy="400556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2700" cap="sq" cmpd="sng" algn="ctr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i="1" kern="0" noProof="0" dirty="0" smtClean="0">
                  <a:solidFill>
                    <a:prstClr val="white"/>
                  </a:solidFill>
                  <a:latin typeface="Arial"/>
                  <a:cs typeface="Arial" charset="0"/>
                </a:rPr>
                <a:t>Mentor retention</a:t>
              </a:r>
              <a:endPara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429320" y="1509420"/>
            <a:ext cx="3538295" cy="4970208"/>
            <a:chOff x="4429320" y="1509420"/>
            <a:chExt cx="3538295" cy="4970208"/>
          </a:xfrm>
        </p:grpSpPr>
        <p:sp>
          <p:nvSpPr>
            <p:cNvPr id="12" name="Rectangle 11"/>
            <p:cNvSpPr/>
            <p:nvPr/>
          </p:nvSpPr>
          <p:spPr bwMode="auto">
            <a:xfrm>
              <a:off x="4429320" y="1509420"/>
              <a:ext cx="3538295" cy="400556"/>
            </a:xfrm>
            <a:prstGeom prst="rect">
              <a:avLst/>
            </a:prstGeom>
            <a:solidFill>
              <a:srgbClr val="00B050"/>
            </a:solidFill>
            <a:ln w="12700" cap="sq" cmpd="sng" algn="ctr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i="1" kern="0" dirty="0" smtClean="0">
                  <a:solidFill>
                    <a:prstClr val="white"/>
                  </a:solidFill>
                  <a:latin typeface="Arial"/>
                  <a:cs typeface="Arial" charset="0"/>
                </a:rPr>
                <a:t>Training of mentors</a:t>
              </a:r>
              <a:endPara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4429320" y="1998985"/>
              <a:ext cx="3538295" cy="4480643"/>
            </a:xfrm>
            <a:prstGeom prst="rect">
              <a:avLst/>
            </a:prstGeom>
            <a:solidFill>
              <a:sysClr val="window" lastClr="FFFFFF"/>
            </a:solidFill>
            <a:ln w="12700" cap="sq" cmpd="sng" algn="ctr">
              <a:solidFill>
                <a:srgbClr val="00B050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46800" tIns="45720" rIns="468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2 week long Induction training by experts for all the mentor teams.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1 week of </a:t>
              </a:r>
              <a:r>
                <a:rPr lang="en-US" sz="1600" dirty="0" smtClean="0">
                  <a:solidFill>
                    <a:schemeClr val="accent6"/>
                  </a:solidFill>
                </a:rPr>
                <a:t>training </a:t>
              </a:r>
              <a:r>
                <a:rPr lang="en-US" sz="1600" dirty="0">
                  <a:solidFill>
                    <a:schemeClr val="accent6"/>
                  </a:solidFill>
                </a:rPr>
                <a:t>on Simulation </a:t>
              </a:r>
              <a:r>
                <a:rPr lang="en-US" sz="1600" dirty="0" smtClean="0">
                  <a:solidFill>
                    <a:schemeClr val="accent6"/>
                  </a:solidFill>
                </a:rPr>
                <a:t>(PRONTO International)</a:t>
              </a:r>
              <a:endParaRPr lang="en-US" sz="1600" dirty="0">
                <a:solidFill>
                  <a:schemeClr val="accent6"/>
                </a:solidFill>
              </a:endParaRP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Field exposure for 3 days per facility with a Direct Observation of Delivery checklist to understand gaps in Obstetric Care.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Week long Clinical </a:t>
              </a:r>
              <a:r>
                <a:rPr lang="en-US" sz="1600" dirty="0" smtClean="0">
                  <a:solidFill>
                    <a:schemeClr val="accent6"/>
                  </a:solidFill>
                </a:rPr>
                <a:t> Practicum in </a:t>
              </a:r>
              <a:r>
                <a:rPr lang="en-US" sz="1600" dirty="0" err="1" smtClean="0">
                  <a:solidFill>
                    <a:schemeClr val="accent6"/>
                  </a:solidFill>
                </a:rPr>
                <a:t>labour</a:t>
              </a:r>
              <a:r>
                <a:rPr lang="en-US" sz="1600" dirty="0" smtClean="0">
                  <a:solidFill>
                    <a:schemeClr val="accent6"/>
                  </a:solidFill>
                </a:rPr>
                <a:t> rooms of  </a:t>
              </a:r>
              <a:r>
                <a:rPr lang="en-US" sz="1600" dirty="0">
                  <a:solidFill>
                    <a:schemeClr val="accent6"/>
                  </a:solidFill>
                </a:rPr>
                <a:t>reputed hospitals of Bihar.</a:t>
              </a:r>
            </a:p>
            <a:p>
              <a:pPr marL="285750" indent="-285750">
                <a:lnSpc>
                  <a:spcPct val="150000"/>
                </a:lnSpc>
                <a:buFont typeface="Wingdings" panose="05000000000000000000" pitchFamily="2" charset="2"/>
                <a:buChar char="ü"/>
              </a:pPr>
              <a:r>
                <a:rPr lang="en-US" sz="1600" dirty="0">
                  <a:solidFill>
                    <a:schemeClr val="accent6"/>
                  </a:solidFill>
                </a:rPr>
                <a:t>Refresher training </a:t>
              </a:r>
              <a:endParaRPr lang="en-US" sz="1600" b="1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17" name="Isosceles Triangle 16"/>
          <p:cNvSpPr/>
          <p:nvPr/>
        </p:nvSpPr>
        <p:spPr bwMode="auto">
          <a:xfrm rot="5400000">
            <a:off x="2822405" y="4097937"/>
            <a:ext cx="2724628" cy="348833"/>
          </a:xfrm>
          <a:prstGeom prst="triangle">
            <a:avLst/>
          </a:prstGeom>
          <a:gradFill flip="none" rotWithShape="1">
            <a:gsLst>
              <a:gs pos="0">
                <a:sysClr val="window" lastClr="FFFFFF">
                  <a:lumMod val="65000"/>
                </a:sysClr>
              </a:gs>
              <a:gs pos="100000">
                <a:sysClr val="window" lastClr="FFFFFF"/>
              </a:gs>
            </a:gsLst>
            <a:lin ang="5400000" scaled="1"/>
            <a:tileRect/>
          </a:gradFill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8" name="Isosceles Triangle 17"/>
          <p:cNvSpPr/>
          <p:nvPr/>
        </p:nvSpPr>
        <p:spPr bwMode="auto">
          <a:xfrm rot="5400000">
            <a:off x="6866398" y="4064793"/>
            <a:ext cx="2724628" cy="348833"/>
          </a:xfrm>
          <a:prstGeom prst="triangle">
            <a:avLst/>
          </a:prstGeom>
          <a:gradFill flip="none" rotWithShape="1">
            <a:gsLst>
              <a:gs pos="0">
                <a:sysClr val="window" lastClr="FFFFFF">
                  <a:lumMod val="65000"/>
                </a:sysClr>
              </a:gs>
              <a:gs pos="100000">
                <a:sysClr val="window" lastClr="FFFFFF"/>
              </a:gs>
            </a:gsLst>
            <a:lin ang="5400000" scaled="1"/>
            <a:tileRect/>
          </a:gradFill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843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6836" y="440388"/>
            <a:ext cx="11106151" cy="697577"/>
          </a:xfrm>
          <a:noFill/>
        </p:spPr>
        <p:txBody>
          <a:bodyPr wrap="square" lIns="0" tIns="0" rIns="0" bIns="0" rtlCol="0" anchor="ctr">
            <a:noAutofit/>
          </a:bodyPr>
          <a:lstStyle/>
          <a:p>
            <a:pPr defTabSz="914332"/>
            <a:r>
              <a:rPr lang="en-US" sz="2400" b="1" cap="none" dirty="0" smtClean="0">
                <a:solidFill>
                  <a:srgbClr val="000000"/>
                </a:solidFill>
                <a:ea typeface="+mn-ea"/>
              </a:rPr>
              <a:t>Timeline</a:t>
            </a:r>
            <a:endParaRPr lang="en-US" sz="2400" b="1" cap="none" dirty="0">
              <a:solidFill>
                <a:srgbClr val="000000"/>
              </a:solidFill>
              <a:ea typeface="+mn-e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5225" y="-10048"/>
            <a:ext cx="377992" cy="202031"/>
          </a:xfrm>
          <a:prstGeom prst="rect">
            <a:avLst/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100" b="1" dirty="0" smtClean="0"/>
              <a:t>2</a:t>
            </a:r>
            <a:endParaRPr lang="en-IN" sz="1100" b="1" dirty="0"/>
          </a:p>
        </p:txBody>
      </p:sp>
      <p:sp>
        <p:nvSpPr>
          <p:cNvPr id="144" name="Rectangle 143"/>
          <p:cNvSpPr/>
          <p:nvPr/>
        </p:nvSpPr>
        <p:spPr bwMode="auto">
          <a:xfrm>
            <a:off x="378969" y="1157934"/>
            <a:ext cx="2316480" cy="4614216"/>
          </a:xfrm>
          <a:prstGeom prst="rect">
            <a:avLst/>
          </a:prstGeom>
          <a:solidFill>
            <a:srgbClr val="C00000"/>
          </a:solidFill>
          <a:ln w="12700" cap="sq" cmpd="sng" algn="ctr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6800" tIns="45720" rIns="468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noProof="0" dirty="0" smtClean="0">
                <a:solidFill>
                  <a:prstClr val="white"/>
                </a:solidFill>
                <a:latin typeface="Arial"/>
                <a:cs typeface="Arial"/>
              </a:rPr>
              <a:t>Pilot Phase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3085169" y="2825331"/>
            <a:ext cx="1990413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prstClr val="black"/>
                </a:solidFill>
                <a:latin typeface="Arial"/>
                <a:cs typeface="Times New Roman" pitchFamily="18" charset="0"/>
              </a:rPr>
              <a:t>8 Districts</a:t>
            </a:r>
          </a:p>
        </p:txBody>
      </p:sp>
      <p:grpSp>
        <p:nvGrpSpPr>
          <p:cNvPr id="146" name="Group 145"/>
          <p:cNvGrpSpPr/>
          <p:nvPr/>
        </p:nvGrpSpPr>
        <p:grpSpPr>
          <a:xfrm>
            <a:off x="3034024" y="1481054"/>
            <a:ext cx="2523552" cy="934710"/>
            <a:chOff x="2576886" y="1846960"/>
            <a:chExt cx="3654097" cy="2267840"/>
          </a:xfrm>
        </p:grpSpPr>
        <p:sp>
          <p:nvSpPr>
            <p:cNvPr id="147" name="Freeform 146"/>
            <p:cNvSpPr/>
            <p:nvPr/>
          </p:nvSpPr>
          <p:spPr>
            <a:xfrm>
              <a:off x="3052215" y="1846960"/>
              <a:ext cx="646151" cy="667772"/>
            </a:xfrm>
            <a:custGeom>
              <a:avLst/>
              <a:gdLst>
                <a:gd name="connsiteX0" fmla="*/ 0 w 1325880"/>
                <a:gd name="connsiteY0" fmla="*/ 304800 h 1577340"/>
                <a:gd name="connsiteX1" fmla="*/ 60960 w 1325880"/>
                <a:gd name="connsiteY1" fmla="*/ 243840 h 1577340"/>
                <a:gd name="connsiteX2" fmla="*/ 0 w 1325880"/>
                <a:gd name="connsiteY2" fmla="*/ 121920 h 1577340"/>
                <a:gd name="connsiteX3" fmla="*/ 137160 w 1325880"/>
                <a:gd name="connsiteY3" fmla="*/ 121920 h 1577340"/>
                <a:gd name="connsiteX4" fmla="*/ 259080 w 1325880"/>
                <a:gd name="connsiteY4" fmla="*/ 114300 h 1577340"/>
                <a:gd name="connsiteX5" fmla="*/ 419100 w 1325880"/>
                <a:gd name="connsiteY5" fmla="*/ 0 h 1577340"/>
                <a:gd name="connsiteX6" fmla="*/ 495300 w 1325880"/>
                <a:gd name="connsiteY6" fmla="*/ 60960 h 1577340"/>
                <a:gd name="connsiteX7" fmla="*/ 579120 w 1325880"/>
                <a:gd name="connsiteY7" fmla="*/ 91440 h 1577340"/>
                <a:gd name="connsiteX8" fmla="*/ 670560 w 1325880"/>
                <a:gd name="connsiteY8" fmla="*/ 220980 h 1577340"/>
                <a:gd name="connsiteX9" fmla="*/ 891540 w 1325880"/>
                <a:gd name="connsiteY9" fmla="*/ 281940 h 1577340"/>
                <a:gd name="connsiteX10" fmla="*/ 1150620 w 1325880"/>
                <a:gd name="connsiteY10" fmla="*/ 335280 h 1577340"/>
                <a:gd name="connsiteX11" fmla="*/ 1226820 w 1325880"/>
                <a:gd name="connsiteY11" fmla="*/ 502920 h 1577340"/>
                <a:gd name="connsiteX12" fmla="*/ 1226820 w 1325880"/>
                <a:gd name="connsiteY12" fmla="*/ 640080 h 1577340"/>
                <a:gd name="connsiteX13" fmla="*/ 1165860 w 1325880"/>
                <a:gd name="connsiteY13" fmla="*/ 822960 h 1577340"/>
                <a:gd name="connsiteX14" fmla="*/ 1325880 w 1325880"/>
                <a:gd name="connsiteY14" fmla="*/ 883920 h 1577340"/>
                <a:gd name="connsiteX15" fmla="*/ 1295400 w 1325880"/>
                <a:gd name="connsiteY15" fmla="*/ 967740 h 1577340"/>
                <a:gd name="connsiteX16" fmla="*/ 1264920 w 1325880"/>
                <a:gd name="connsiteY16" fmla="*/ 990600 h 1577340"/>
                <a:gd name="connsiteX17" fmla="*/ 1211580 w 1325880"/>
                <a:gd name="connsiteY17" fmla="*/ 1074420 h 1577340"/>
                <a:gd name="connsiteX18" fmla="*/ 1272540 w 1325880"/>
                <a:gd name="connsiteY18" fmla="*/ 1173480 h 1577340"/>
                <a:gd name="connsiteX19" fmla="*/ 1264920 w 1325880"/>
                <a:gd name="connsiteY19" fmla="*/ 1249680 h 1577340"/>
                <a:gd name="connsiteX20" fmla="*/ 1264920 w 1325880"/>
                <a:gd name="connsiteY20" fmla="*/ 1318260 h 1577340"/>
                <a:gd name="connsiteX21" fmla="*/ 1127760 w 1325880"/>
                <a:gd name="connsiteY21" fmla="*/ 1432560 h 1577340"/>
                <a:gd name="connsiteX22" fmla="*/ 1097280 w 1325880"/>
                <a:gd name="connsiteY22" fmla="*/ 1402080 h 1577340"/>
                <a:gd name="connsiteX23" fmla="*/ 952500 w 1325880"/>
                <a:gd name="connsiteY23" fmla="*/ 1485900 h 1577340"/>
                <a:gd name="connsiteX24" fmla="*/ 952500 w 1325880"/>
                <a:gd name="connsiteY24" fmla="*/ 1562100 h 1577340"/>
                <a:gd name="connsiteX25" fmla="*/ 929640 w 1325880"/>
                <a:gd name="connsiteY25" fmla="*/ 1577340 h 1577340"/>
                <a:gd name="connsiteX26" fmla="*/ 883920 w 1325880"/>
                <a:gd name="connsiteY26" fmla="*/ 1524000 h 1577340"/>
                <a:gd name="connsiteX27" fmla="*/ 792480 w 1325880"/>
                <a:gd name="connsiteY27" fmla="*/ 1493520 h 1577340"/>
                <a:gd name="connsiteX28" fmla="*/ 784860 w 1325880"/>
                <a:gd name="connsiteY28" fmla="*/ 1424940 h 1577340"/>
                <a:gd name="connsiteX29" fmla="*/ 762000 w 1325880"/>
                <a:gd name="connsiteY29" fmla="*/ 1402080 h 1577340"/>
                <a:gd name="connsiteX30" fmla="*/ 678180 w 1325880"/>
                <a:gd name="connsiteY30" fmla="*/ 1386840 h 1577340"/>
                <a:gd name="connsiteX31" fmla="*/ 647700 w 1325880"/>
                <a:gd name="connsiteY31" fmla="*/ 1310640 h 1577340"/>
                <a:gd name="connsiteX32" fmla="*/ 617220 w 1325880"/>
                <a:gd name="connsiteY32" fmla="*/ 1287780 h 1577340"/>
                <a:gd name="connsiteX33" fmla="*/ 541020 w 1325880"/>
                <a:gd name="connsiteY33" fmla="*/ 1310640 h 1577340"/>
                <a:gd name="connsiteX34" fmla="*/ 541020 w 1325880"/>
                <a:gd name="connsiteY34" fmla="*/ 1257300 h 1577340"/>
                <a:gd name="connsiteX35" fmla="*/ 556260 w 1325880"/>
                <a:gd name="connsiteY35" fmla="*/ 1127760 h 1577340"/>
                <a:gd name="connsiteX36" fmla="*/ 518160 w 1325880"/>
                <a:gd name="connsiteY36" fmla="*/ 1059180 h 1577340"/>
                <a:gd name="connsiteX37" fmla="*/ 419100 w 1325880"/>
                <a:gd name="connsiteY37" fmla="*/ 1143000 h 1577340"/>
                <a:gd name="connsiteX38" fmla="*/ 403860 w 1325880"/>
                <a:gd name="connsiteY38" fmla="*/ 1043940 h 1577340"/>
                <a:gd name="connsiteX39" fmla="*/ 365760 w 1325880"/>
                <a:gd name="connsiteY39" fmla="*/ 1051560 h 1577340"/>
                <a:gd name="connsiteX40" fmla="*/ 335280 w 1325880"/>
                <a:gd name="connsiteY40" fmla="*/ 1089660 h 1577340"/>
                <a:gd name="connsiteX41" fmla="*/ 266700 w 1325880"/>
                <a:gd name="connsiteY41" fmla="*/ 982980 h 1577340"/>
                <a:gd name="connsiteX42" fmla="*/ 281940 w 1325880"/>
                <a:gd name="connsiteY42" fmla="*/ 922020 h 1577340"/>
                <a:gd name="connsiteX43" fmla="*/ 236220 w 1325880"/>
                <a:gd name="connsiteY43" fmla="*/ 754380 h 1577340"/>
                <a:gd name="connsiteX44" fmla="*/ 259080 w 1325880"/>
                <a:gd name="connsiteY44" fmla="*/ 678180 h 1577340"/>
                <a:gd name="connsiteX45" fmla="*/ 129540 w 1325880"/>
                <a:gd name="connsiteY45" fmla="*/ 731520 h 1577340"/>
                <a:gd name="connsiteX46" fmla="*/ 175260 w 1325880"/>
                <a:gd name="connsiteY46" fmla="*/ 533400 h 1577340"/>
                <a:gd name="connsiteX47" fmla="*/ 144780 w 1325880"/>
                <a:gd name="connsiteY47" fmla="*/ 464820 h 1577340"/>
                <a:gd name="connsiteX48" fmla="*/ 83820 w 1325880"/>
                <a:gd name="connsiteY48" fmla="*/ 396240 h 1577340"/>
                <a:gd name="connsiteX49" fmla="*/ 106680 w 1325880"/>
                <a:gd name="connsiteY49" fmla="*/ 327660 h 1577340"/>
                <a:gd name="connsiteX50" fmla="*/ 0 w 1325880"/>
                <a:gd name="connsiteY50" fmla="*/ 304800 h 157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325880" h="1577340">
                  <a:moveTo>
                    <a:pt x="0" y="304800"/>
                  </a:moveTo>
                  <a:lnTo>
                    <a:pt x="60960" y="243840"/>
                  </a:lnTo>
                  <a:lnTo>
                    <a:pt x="0" y="121920"/>
                  </a:lnTo>
                  <a:lnTo>
                    <a:pt x="137160" y="121920"/>
                  </a:lnTo>
                  <a:lnTo>
                    <a:pt x="259080" y="114300"/>
                  </a:lnTo>
                  <a:lnTo>
                    <a:pt x="419100" y="0"/>
                  </a:lnTo>
                  <a:lnTo>
                    <a:pt x="495300" y="60960"/>
                  </a:lnTo>
                  <a:lnTo>
                    <a:pt x="579120" y="91440"/>
                  </a:lnTo>
                  <a:lnTo>
                    <a:pt x="670560" y="220980"/>
                  </a:lnTo>
                  <a:lnTo>
                    <a:pt x="891540" y="281940"/>
                  </a:lnTo>
                  <a:lnTo>
                    <a:pt x="1150620" y="335280"/>
                  </a:lnTo>
                  <a:lnTo>
                    <a:pt x="1226820" y="502920"/>
                  </a:lnTo>
                  <a:lnTo>
                    <a:pt x="1226820" y="640080"/>
                  </a:lnTo>
                  <a:lnTo>
                    <a:pt x="1165860" y="822960"/>
                  </a:lnTo>
                  <a:lnTo>
                    <a:pt x="1325880" y="883920"/>
                  </a:lnTo>
                  <a:lnTo>
                    <a:pt x="1295400" y="967740"/>
                  </a:lnTo>
                  <a:lnTo>
                    <a:pt x="1264920" y="990600"/>
                  </a:lnTo>
                  <a:lnTo>
                    <a:pt x="1211580" y="1074420"/>
                  </a:lnTo>
                  <a:lnTo>
                    <a:pt x="1272540" y="1173480"/>
                  </a:lnTo>
                  <a:lnTo>
                    <a:pt x="1264920" y="1249680"/>
                  </a:lnTo>
                  <a:lnTo>
                    <a:pt x="1264920" y="1318260"/>
                  </a:lnTo>
                  <a:lnTo>
                    <a:pt x="1127760" y="1432560"/>
                  </a:lnTo>
                  <a:lnTo>
                    <a:pt x="1097280" y="1402080"/>
                  </a:lnTo>
                  <a:lnTo>
                    <a:pt x="952500" y="1485900"/>
                  </a:lnTo>
                  <a:lnTo>
                    <a:pt x="952500" y="1562100"/>
                  </a:lnTo>
                  <a:lnTo>
                    <a:pt x="929640" y="1577340"/>
                  </a:lnTo>
                  <a:lnTo>
                    <a:pt x="883920" y="1524000"/>
                  </a:lnTo>
                  <a:lnTo>
                    <a:pt x="792480" y="1493520"/>
                  </a:lnTo>
                  <a:lnTo>
                    <a:pt x="784860" y="1424940"/>
                  </a:lnTo>
                  <a:lnTo>
                    <a:pt x="762000" y="1402080"/>
                  </a:lnTo>
                  <a:lnTo>
                    <a:pt x="678180" y="1386840"/>
                  </a:lnTo>
                  <a:lnTo>
                    <a:pt x="647700" y="1310640"/>
                  </a:lnTo>
                  <a:lnTo>
                    <a:pt x="617220" y="1287780"/>
                  </a:lnTo>
                  <a:lnTo>
                    <a:pt x="541020" y="1310640"/>
                  </a:lnTo>
                  <a:lnTo>
                    <a:pt x="541020" y="1257300"/>
                  </a:lnTo>
                  <a:lnTo>
                    <a:pt x="556260" y="1127760"/>
                  </a:lnTo>
                  <a:lnTo>
                    <a:pt x="518160" y="1059180"/>
                  </a:lnTo>
                  <a:lnTo>
                    <a:pt x="419100" y="1143000"/>
                  </a:lnTo>
                  <a:lnTo>
                    <a:pt x="403860" y="1043940"/>
                  </a:lnTo>
                  <a:lnTo>
                    <a:pt x="365760" y="1051560"/>
                  </a:lnTo>
                  <a:lnTo>
                    <a:pt x="335280" y="1089660"/>
                  </a:lnTo>
                  <a:lnTo>
                    <a:pt x="266700" y="982980"/>
                  </a:lnTo>
                  <a:lnTo>
                    <a:pt x="281940" y="922020"/>
                  </a:lnTo>
                  <a:lnTo>
                    <a:pt x="236220" y="754380"/>
                  </a:lnTo>
                  <a:lnTo>
                    <a:pt x="259080" y="678180"/>
                  </a:lnTo>
                  <a:lnTo>
                    <a:pt x="129540" y="731520"/>
                  </a:lnTo>
                  <a:lnTo>
                    <a:pt x="175260" y="533400"/>
                  </a:lnTo>
                  <a:lnTo>
                    <a:pt x="144780" y="464820"/>
                  </a:lnTo>
                  <a:lnTo>
                    <a:pt x="83820" y="396240"/>
                  </a:lnTo>
                  <a:lnTo>
                    <a:pt x="106680" y="327660"/>
                  </a:lnTo>
                  <a:lnTo>
                    <a:pt x="0" y="304800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8" name="Freeform 147"/>
            <p:cNvSpPr/>
            <p:nvPr/>
          </p:nvSpPr>
          <p:spPr>
            <a:xfrm>
              <a:off x="3508980" y="2211490"/>
              <a:ext cx="571881" cy="525827"/>
            </a:xfrm>
            <a:custGeom>
              <a:avLst/>
              <a:gdLst>
                <a:gd name="connsiteX0" fmla="*/ 396240 w 1173480"/>
                <a:gd name="connsiteY0" fmla="*/ 30480 h 1242060"/>
                <a:gd name="connsiteX1" fmla="*/ 449580 w 1173480"/>
                <a:gd name="connsiteY1" fmla="*/ 0 h 1242060"/>
                <a:gd name="connsiteX2" fmla="*/ 594360 w 1173480"/>
                <a:gd name="connsiteY2" fmla="*/ 83820 h 1242060"/>
                <a:gd name="connsiteX3" fmla="*/ 678180 w 1173480"/>
                <a:gd name="connsiteY3" fmla="*/ 68580 h 1242060"/>
                <a:gd name="connsiteX4" fmla="*/ 716280 w 1173480"/>
                <a:gd name="connsiteY4" fmla="*/ 182880 h 1242060"/>
                <a:gd name="connsiteX5" fmla="*/ 784860 w 1173480"/>
                <a:gd name="connsiteY5" fmla="*/ 228600 h 1242060"/>
                <a:gd name="connsiteX6" fmla="*/ 807720 w 1173480"/>
                <a:gd name="connsiteY6" fmla="*/ 297180 h 1242060"/>
                <a:gd name="connsiteX7" fmla="*/ 906780 w 1173480"/>
                <a:gd name="connsiteY7" fmla="*/ 243840 h 1242060"/>
                <a:gd name="connsiteX8" fmla="*/ 1005840 w 1173480"/>
                <a:gd name="connsiteY8" fmla="*/ 297180 h 1242060"/>
                <a:gd name="connsiteX9" fmla="*/ 998220 w 1173480"/>
                <a:gd name="connsiteY9" fmla="*/ 411480 h 1242060"/>
                <a:gd name="connsiteX10" fmla="*/ 1074420 w 1173480"/>
                <a:gd name="connsiteY10" fmla="*/ 472440 h 1242060"/>
                <a:gd name="connsiteX11" fmla="*/ 1074420 w 1173480"/>
                <a:gd name="connsiteY11" fmla="*/ 601980 h 1242060"/>
                <a:gd name="connsiteX12" fmla="*/ 1097280 w 1173480"/>
                <a:gd name="connsiteY12" fmla="*/ 708660 h 1242060"/>
                <a:gd name="connsiteX13" fmla="*/ 990600 w 1173480"/>
                <a:gd name="connsiteY13" fmla="*/ 929640 h 1242060"/>
                <a:gd name="connsiteX14" fmla="*/ 1143000 w 1173480"/>
                <a:gd name="connsiteY14" fmla="*/ 982980 h 1242060"/>
                <a:gd name="connsiteX15" fmla="*/ 1173480 w 1173480"/>
                <a:gd name="connsiteY15" fmla="*/ 1135380 h 1242060"/>
                <a:gd name="connsiteX16" fmla="*/ 1043940 w 1173480"/>
                <a:gd name="connsiteY16" fmla="*/ 1074420 h 1242060"/>
                <a:gd name="connsiteX17" fmla="*/ 1104900 w 1173480"/>
                <a:gd name="connsiteY17" fmla="*/ 1188720 h 1242060"/>
                <a:gd name="connsiteX18" fmla="*/ 998220 w 1173480"/>
                <a:gd name="connsiteY18" fmla="*/ 1188720 h 1242060"/>
                <a:gd name="connsiteX19" fmla="*/ 967740 w 1173480"/>
                <a:gd name="connsiteY19" fmla="*/ 1127760 h 1242060"/>
                <a:gd name="connsiteX20" fmla="*/ 906780 w 1173480"/>
                <a:gd name="connsiteY20" fmla="*/ 1158240 h 1242060"/>
                <a:gd name="connsiteX21" fmla="*/ 693420 w 1173480"/>
                <a:gd name="connsiteY21" fmla="*/ 1135380 h 1242060"/>
                <a:gd name="connsiteX22" fmla="*/ 541020 w 1173480"/>
                <a:gd name="connsiteY22" fmla="*/ 1181100 h 1242060"/>
                <a:gd name="connsiteX23" fmla="*/ 518160 w 1173480"/>
                <a:gd name="connsiteY23" fmla="*/ 1242060 h 1242060"/>
                <a:gd name="connsiteX24" fmla="*/ 213360 w 1173480"/>
                <a:gd name="connsiteY24" fmla="*/ 937260 h 1242060"/>
                <a:gd name="connsiteX25" fmla="*/ 91440 w 1173480"/>
                <a:gd name="connsiteY25" fmla="*/ 982980 h 1242060"/>
                <a:gd name="connsiteX26" fmla="*/ 0 w 1173480"/>
                <a:gd name="connsiteY26" fmla="*/ 731520 h 1242060"/>
                <a:gd name="connsiteX27" fmla="*/ 22860 w 1173480"/>
                <a:gd name="connsiteY27" fmla="*/ 617220 h 1242060"/>
                <a:gd name="connsiteX28" fmla="*/ 152400 w 1173480"/>
                <a:gd name="connsiteY28" fmla="*/ 556260 h 1242060"/>
                <a:gd name="connsiteX29" fmla="*/ 198120 w 1173480"/>
                <a:gd name="connsiteY29" fmla="*/ 594360 h 1242060"/>
                <a:gd name="connsiteX30" fmla="*/ 358140 w 1173480"/>
                <a:gd name="connsiteY30" fmla="*/ 449580 h 1242060"/>
                <a:gd name="connsiteX31" fmla="*/ 342900 w 1173480"/>
                <a:gd name="connsiteY31" fmla="*/ 304800 h 1242060"/>
                <a:gd name="connsiteX32" fmla="*/ 289560 w 1173480"/>
                <a:gd name="connsiteY32" fmla="*/ 220980 h 1242060"/>
                <a:gd name="connsiteX33" fmla="*/ 388620 w 1173480"/>
                <a:gd name="connsiteY33" fmla="*/ 106680 h 1242060"/>
                <a:gd name="connsiteX34" fmla="*/ 396240 w 1173480"/>
                <a:gd name="connsiteY34" fmla="*/ 30480 h 1242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173480" h="1242060">
                  <a:moveTo>
                    <a:pt x="396240" y="30480"/>
                  </a:moveTo>
                  <a:lnTo>
                    <a:pt x="449580" y="0"/>
                  </a:lnTo>
                  <a:lnTo>
                    <a:pt x="594360" y="83820"/>
                  </a:lnTo>
                  <a:lnTo>
                    <a:pt x="678180" y="68580"/>
                  </a:lnTo>
                  <a:lnTo>
                    <a:pt x="716280" y="182880"/>
                  </a:lnTo>
                  <a:lnTo>
                    <a:pt x="784860" y="228600"/>
                  </a:lnTo>
                  <a:lnTo>
                    <a:pt x="807720" y="297180"/>
                  </a:lnTo>
                  <a:lnTo>
                    <a:pt x="906780" y="243840"/>
                  </a:lnTo>
                  <a:lnTo>
                    <a:pt x="1005840" y="297180"/>
                  </a:lnTo>
                  <a:lnTo>
                    <a:pt x="998220" y="411480"/>
                  </a:lnTo>
                  <a:lnTo>
                    <a:pt x="1074420" y="472440"/>
                  </a:lnTo>
                  <a:lnTo>
                    <a:pt x="1074420" y="601980"/>
                  </a:lnTo>
                  <a:lnTo>
                    <a:pt x="1097280" y="708660"/>
                  </a:lnTo>
                  <a:lnTo>
                    <a:pt x="990600" y="929640"/>
                  </a:lnTo>
                  <a:lnTo>
                    <a:pt x="1143000" y="982980"/>
                  </a:lnTo>
                  <a:lnTo>
                    <a:pt x="1173480" y="1135380"/>
                  </a:lnTo>
                  <a:lnTo>
                    <a:pt x="1043940" y="1074420"/>
                  </a:lnTo>
                  <a:lnTo>
                    <a:pt x="1104900" y="1188720"/>
                  </a:lnTo>
                  <a:lnTo>
                    <a:pt x="998220" y="1188720"/>
                  </a:lnTo>
                  <a:lnTo>
                    <a:pt x="967740" y="1127760"/>
                  </a:lnTo>
                  <a:lnTo>
                    <a:pt x="906780" y="1158240"/>
                  </a:lnTo>
                  <a:lnTo>
                    <a:pt x="693420" y="1135380"/>
                  </a:lnTo>
                  <a:lnTo>
                    <a:pt x="541020" y="1181100"/>
                  </a:lnTo>
                  <a:lnTo>
                    <a:pt x="518160" y="1242060"/>
                  </a:lnTo>
                  <a:lnTo>
                    <a:pt x="213360" y="937260"/>
                  </a:lnTo>
                  <a:lnTo>
                    <a:pt x="91440" y="982980"/>
                  </a:lnTo>
                  <a:lnTo>
                    <a:pt x="0" y="731520"/>
                  </a:lnTo>
                  <a:lnTo>
                    <a:pt x="22860" y="617220"/>
                  </a:lnTo>
                  <a:lnTo>
                    <a:pt x="152400" y="556260"/>
                  </a:lnTo>
                  <a:lnTo>
                    <a:pt x="198120" y="594360"/>
                  </a:lnTo>
                  <a:lnTo>
                    <a:pt x="358140" y="449580"/>
                  </a:lnTo>
                  <a:lnTo>
                    <a:pt x="342900" y="304800"/>
                  </a:lnTo>
                  <a:lnTo>
                    <a:pt x="289560" y="220980"/>
                  </a:lnTo>
                  <a:lnTo>
                    <a:pt x="388620" y="106680"/>
                  </a:lnTo>
                  <a:lnTo>
                    <a:pt x="396240" y="30480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9" name="Freeform 148"/>
            <p:cNvSpPr/>
            <p:nvPr/>
          </p:nvSpPr>
          <p:spPr>
            <a:xfrm>
              <a:off x="3999162" y="2321175"/>
              <a:ext cx="479043" cy="412919"/>
            </a:xfrm>
            <a:custGeom>
              <a:avLst/>
              <a:gdLst>
                <a:gd name="connsiteX0" fmla="*/ 76200 w 982980"/>
                <a:gd name="connsiteY0" fmla="*/ 190500 h 975360"/>
                <a:gd name="connsiteX1" fmla="*/ 205740 w 982980"/>
                <a:gd name="connsiteY1" fmla="*/ 205740 h 975360"/>
                <a:gd name="connsiteX2" fmla="*/ 320040 w 982980"/>
                <a:gd name="connsiteY2" fmla="*/ 160020 h 975360"/>
                <a:gd name="connsiteX3" fmla="*/ 381000 w 982980"/>
                <a:gd name="connsiteY3" fmla="*/ 167640 h 975360"/>
                <a:gd name="connsiteX4" fmla="*/ 624840 w 982980"/>
                <a:gd name="connsiteY4" fmla="*/ 22860 h 975360"/>
                <a:gd name="connsiteX5" fmla="*/ 632460 w 982980"/>
                <a:gd name="connsiteY5" fmla="*/ 0 h 975360"/>
                <a:gd name="connsiteX6" fmla="*/ 807720 w 982980"/>
                <a:gd name="connsiteY6" fmla="*/ 152400 h 975360"/>
                <a:gd name="connsiteX7" fmla="*/ 769620 w 982980"/>
                <a:gd name="connsiteY7" fmla="*/ 350520 h 975360"/>
                <a:gd name="connsiteX8" fmla="*/ 982980 w 982980"/>
                <a:gd name="connsiteY8" fmla="*/ 495300 h 975360"/>
                <a:gd name="connsiteX9" fmla="*/ 960120 w 982980"/>
                <a:gd name="connsiteY9" fmla="*/ 594360 h 975360"/>
                <a:gd name="connsiteX10" fmla="*/ 807720 w 982980"/>
                <a:gd name="connsiteY10" fmla="*/ 754380 h 975360"/>
                <a:gd name="connsiteX11" fmla="*/ 807720 w 982980"/>
                <a:gd name="connsiteY11" fmla="*/ 754380 h 975360"/>
                <a:gd name="connsiteX12" fmla="*/ 693420 w 982980"/>
                <a:gd name="connsiteY12" fmla="*/ 815340 h 975360"/>
                <a:gd name="connsiteX13" fmla="*/ 762000 w 982980"/>
                <a:gd name="connsiteY13" fmla="*/ 929640 h 975360"/>
                <a:gd name="connsiteX14" fmla="*/ 723900 w 982980"/>
                <a:gd name="connsiteY14" fmla="*/ 929640 h 975360"/>
                <a:gd name="connsiteX15" fmla="*/ 723900 w 982980"/>
                <a:gd name="connsiteY15" fmla="*/ 929640 h 975360"/>
                <a:gd name="connsiteX16" fmla="*/ 640080 w 982980"/>
                <a:gd name="connsiteY16" fmla="*/ 922020 h 975360"/>
                <a:gd name="connsiteX17" fmla="*/ 495300 w 982980"/>
                <a:gd name="connsiteY17" fmla="*/ 800100 h 975360"/>
                <a:gd name="connsiteX18" fmla="*/ 365760 w 982980"/>
                <a:gd name="connsiteY18" fmla="*/ 868680 h 975360"/>
                <a:gd name="connsiteX19" fmla="*/ 304800 w 982980"/>
                <a:gd name="connsiteY19" fmla="*/ 975360 h 975360"/>
                <a:gd name="connsiteX20" fmla="*/ 198120 w 982980"/>
                <a:gd name="connsiteY20" fmla="*/ 861060 h 975360"/>
                <a:gd name="connsiteX21" fmla="*/ 144780 w 982980"/>
                <a:gd name="connsiteY21" fmla="*/ 762000 h 975360"/>
                <a:gd name="connsiteX22" fmla="*/ 0 w 982980"/>
                <a:gd name="connsiteY22" fmla="*/ 670560 h 975360"/>
                <a:gd name="connsiteX23" fmla="*/ 106680 w 982980"/>
                <a:gd name="connsiteY23" fmla="*/ 472440 h 975360"/>
                <a:gd name="connsiteX24" fmla="*/ 91440 w 982980"/>
                <a:gd name="connsiteY24" fmla="*/ 320040 h 975360"/>
                <a:gd name="connsiteX25" fmla="*/ 76200 w 982980"/>
                <a:gd name="connsiteY25" fmla="*/ 190500 h 975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2980" h="975360">
                  <a:moveTo>
                    <a:pt x="76200" y="190500"/>
                  </a:moveTo>
                  <a:lnTo>
                    <a:pt x="205740" y="205740"/>
                  </a:lnTo>
                  <a:lnTo>
                    <a:pt x="320040" y="160020"/>
                  </a:lnTo>
                  <a:lnTo>
                    <a:pt x="381000" y="167640"/>
                  </a:lnTo>
                  <a:lnTo>
                    <a:pt x="624840" y="22860"/>
                  </a:lnTo>
                  <a:lnTo>
                    <a:pt x="632460" y="0"/>
                  </a:lnTo>
                  <a:lnTo>
                    <a:pt x="807720" y="152400"/>
                  </a:lnTo>
                  <a:lnTo>
                    <a:pt x="769620" y="350520"/>
                  </a:lnTo>
                  <a:lnTo>
                    <a:pt x="982980" y="495300"/>
                  </a:lnTo>
                  <a:lnTo>
                    <a:pt x="960120" y="594360"/>
                  </a:lnTo>
                  <a:lnTo>
                    <a:pt x="807720" y="754380"/>
                  </a:lnTo>
                  <a:lnTo>
                    <a:pt x="807720" y="754380"/>
                  </a:lnTo>
                  <a:lnTo>
                    <a:pt x="693420" y="815340"/>
                  </a:lnTo>
                  <a:lnTo>
                    <a:pt x="762000" y="929640"/>
                  </a:lnTo>
                  <a:lnTo>
                    <a:pt x="723900" y="929640"/>
                  </a:lnTo>
                  <a:lnTo>
                    <a:pt x="723900" y="929640"/>
                  </a:lnTo>
                  <a:lnTo>
                    <a:pt x="640080" y="922020"/>
                  </a:lnTo>
                  <a:lnTo>
                    <a:pt x="495300" y="800100"/>
                  </a:lnTo>
                  <a:lnTo>
                    <a:pt x="365760" y="868680"/>
                  </a:lnTo>
                  <a:lnTo>
                    <a:pt x="304800" y="975360"/>
                  </a:lnTo>
                  <a:lnTo>
                    <a:pt x="198120" y="861060"/>
                  </a:lnTo>
                  <a:lnTo>
                    <a:pt x="144780" y="762000"/>
                  </a:lnTo>
                  <a:lnTo>
                    <a:pt x="0" y="670560"/>
                  </a:lnTo>
                  <a:lnTo>
                    <a:pt x="106680" y="472440"/>
                  </a:lnTo>
                  <a:lnTo>
                    <a:pt x="91440" y="320040"/>
                  </a:lnTo>
                  <a:lnTo>
                    <a:pt x="76200" y="19050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0" name="Freeform 149"/>
            <p:cNvSpPr/>
            <p:nvPr/>
          </p:nvSpPr>
          <p:spPr>
            <a:xfrm>
              <a:off x="4396511" y="2479246"/>
              <a:ext cx="694427" cy="445182"/>
            </a:xfrm>
            <a:custGeom>
              <a:avLst/>
              <a:gdLst>
                <a:gd name="connsiteX0" fmla="*/ 198120 w 1424940"/>
                <a:gd name="connsiteY0" fmla="*/ 137160 h 1051560"/>
                <a:gd name="connsiteX1" fmla="*/ 281940 w 1424940"/>
                <a:gd name="connsiteY1" fmla="*/ 83820 h 1051560"/>
                <a:gd name="connsiteX2" fmla="*/ 426720 w 1424940"/>
                <a:gd name="connsiteY2" fmla="*/ 0 h 1051560"/>
                <a:gd name="connsiteX3" fmla="*/ 701040 w 1424940"/>
                <a:gd name="connsiteY3" fmla="*/ 144780 h 1051560"/>
                <a:gd name="connsiteX4" fmla="*/ 800100 w 1424940"/>
                <a:gd name="connsiteY4" fmla="*/ 83820 h 1051560"/>
                <a:gd name="connsiteX5" fmla="*/ 1120140 w 1424940"/>
                <a:gd name="connsiteY5" fmla="*/ 243840 h 1051560"/>
                <a:gd name="connsiteX6" fmla="*/ 1424940 w 1424940"/>
                <a:gd name="connsiteY6" fmla="*/ 434340 h 1051560"/>
                <a:gd name="connsiteX7" fmla="*/ 1249680 w 1424940"/>
                <a:gd name="connsiteY7" fmla="*/ 533400 h 1051560"/>
                <a:gd name="connsiteX8" fmla="*/ 1112520 w 1424940"/>
                <a:gd name="connsiteY8" fmla="*/ 670560 h 1051560"/>
                <a:gd name="connsiteX9" fmla="*/ 1120140 w 1424940"/>
                <a:gd name="connsiteY9" fmla="*/ 739140 h 1051560"/>
                <a:gd name="connsiteX10" fmla="*/ 967740 w 1424940"/>
                <a:gd name="connsiteY10" fmla="*/ 769620 h 1051560"/>
                <a:gd name="connsiteX11" fmla="*/ 982980 w 1424940"/>
                <a:gd name="connsiteY11" fmla="*/ 822960 h 1051560"/>
                <a:gd name="connsiteX12" fmla="*/ 1150620 w 1424940"/>
                <a:gd name="connsiteY12" fmla="*/ 845820 h 1051560"/>
                <a:gd name="connsiteX13" fmla="*/ 1150620 w 1424940"/>
                <a:gd name="connsiteY13" fmla="*/ 845820 h 1051560"/>
                <a:gd name="connsiteX14" fmla="*/ 982980 w 1424940"/>
                <a:gd name="connsiteY14" fmla="*/ 952500 h 1051560"/>
                <a:gd name="connsiteX15" fmla="*/ 998220 w 1424940"/>
                <a:gd name="connsiteY15" fmla="*/ 1013460 h 1051560"/>
                <a:gd name="connsiteX16" fmla="*/ 914400 w 1424940"/>
                <a:gd name="connsiteY16" fmla="*/ 1051560 h 1051560"/>
                <a:gd name="connsiteX17" fmla="*/ 830580 w 1424940"/>
                <a:gd name="connsiteY17" fmla="*/ 952500 h 1051560"/>
                <a:gd name="connsiteX18" fmla="*/ 830580 w 1424940"/>
                <a:gd name="connsiteY18" fmla="*/ 845820 h 1051560"/>
                <a:gd name="connsiteX19" fmla="*/ 624840 w 1424940"/>
                <a:gd name="connsiteY19" fmla="*/ 769620 h 1051560"/>
                <a:gd name="connsiteX20" fmla="*/ 457200 w 1424940"/>
                <a:gd name="connsiteY20" fmla="*/ 807720 h 1051560"/>
                <a:gd name="connsiteX21" fmla="*/ 320040 w 1424940"/>
                <a:gd name="connsiteY21" fmla="*/ 678180 h 1051560"/>
                <a:gd name="connsiteX22" fmla="*/ 327660 w 1424940"/>
                <a:gd name="connsiteY22" fmla="*/ 632460 h 1051560"/>
                <a:gd name="connsiteX23" fmla="*/ 228600 w 1424940"/>
                <a:gd name="connsiteY23" fmla="*/ 609600 h 1051560"/>
                <a:gd name="connsiteX24" fmla="*/ 182880 w 1424940"/>
                <a:gd name="connsiteY24" fmla="*/ 647700 h 1051560"/>
                <a:gd name="connsiteX25" fmla="*/ 83820 w 1424940"/>
                <a:gd name="connsiteY25" fmla="*/ 632460 h 1051560"/>
                <a:gd name="connsiteX26" fmla="*/ 106680 w 1424940"/>
                <a:gd name="connsiteY26" fmla="*/ 571500 h 1051560"/>
                <a:gd name="connsiteX27" fmla="*/ 137160 w 1424940"/>
                <a:gd name="connsiteY27" fmla="*/ 502920 h 1051560"/>
                <a:gd name="connsiteX28" fmla="*/ 76200 w 1424940"/>
                <a:gd name="connsiteY28" fmla="*/ 426720 h 1051560"/>
                <a:gd name="connsiteX29" fmla="*/ 0 w 1424940"/>
                <a:gd name="connsiteY29" fmla="*/ 441960 h 1051560"/>
                <a:gd name="connsiteX30" fmla="*/ 15240 w 1424940"/>
                <a:gd name="connsiteY30" fmla="*/ 381000 h 1051560"/>
                <a:gd name="connsiteX31" fmla="*/ 152400 w 1424940"/>
                <a:gd name="connsiteY31" fmla="*/ 220980 h 1051560"/>
                <a:gd name="connsiteX32" fmla="*/ 198120 w 1424940"/>
                <a:gd name="connsiteY32" fmla="*/ 137160 h 105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424940" h="1051560">
                  <a:moveTo>
                    <a:pt x="198120" y="137160"/>
                  </a:moveTo>
                  <a:lnTo>
                    <a:pt x="281940" y="83820"/>
                  </a:lnTo>
                  <a:lnTo>
                    <a:pt x="426720" y="0"/>
                  </a:lnTo>
                  <a:lnTo>
                    <a:pt x="701040" y="144780"/>
                  </a:lnTo>
                  <a:lnTo>
                    <a:pt x="800100" y="83820"/>
                  </a:lnTo>
                  <a:lnTo>
                    <a:pt x="1120140" y="243840"/>
                  </a:lnTo>
                  <a:lnTo>
                    <a:pt x="1424940" y="434340"/>
                  </a:lnTo>
                  <a:lnTo>
                    <a:pt x="1249680" y="533400"/>
                  </a:lnTo>
                  <a:lnTo>
                    <a:pt x="1112520" y="670560"/>
                  </a:lnTo>
                  <a:lnTo>
                    <a:pt x="1120140" y="739140"/>
                  </a:lnTo>
                  <a:lnTo>
                    <a:pt x="967740" y="769620"/>
                  </a:lnTo>
                  <a:lnTo>
                    <a:pt x="982980" y="822960"/>
                  </a:lnTo>
                  <a:lnTo>
                    <a:pt x="1150620" y="845820"/>
                  </a:lnTo>
                  <a:lnTo>
                    <a:pt x="1150620" y="845820"/>
                  </a:lnTo>
                  <a:lnTo>
                    <a:pt x="982980" y="952500"/>
                  </a:lnTo>
                  <a:lnTo>
                    <a:pt x="998220" y="1013460"/>
                  </a:lnTo>
                  <a:lnTo>
                    <a:pt x="914400" y="1051560"/>
                  </a:lnTo>
                  <a:lnTo>
                    <a:pt x="830580" y="952500"/>
                  </a:lnTo>
                  <a:lnTo>
                    <a:pt x="830580" y="845820"/>
                  </a:lnTo>
                  <a:lnTo>
                    <a:pt x="624840" y="769620"/>
                  </a:lnTo>
                  <a:lnTo>
                    <a:pt x="457200" y="807720"/>
                  </a:lnTo>
                  <a:lnTo>
                    <a:pt x="320040" y="678180"/>
                  </a:lnTo>
                  <a:lnTo>
                    <a:pt x="327660" y="632460"/>
                  </a:lnTo>
                  <a:lnTo>
                    <a:pt x="228600" y="609600"/>
                  </a:lnTo>
                  <a:lnTo>
                    <a:pt x="182880" y="647700"/>
                  </a:lnTo>
                  <a:lnTo>
                    <a:pt x="83820" y="632460"/>
                  </a:lnTo>
                  <a:lnTo>
                    <a:pt x="106680" y="571500"/>
                  </a:lnTo>
                  <a:lnTo>
                    <a:pt x="137160" y="502920"/>
                  </a:lnTo>
                  <a:lnTo>
                    <a:pt x="76200" y="426720"/>
                  </a:lnTo>
                  <a:lnTo>
                    <a:pt x="0" y="441960"/>
                  </a:lnTo>
                  <a:lnTo>
                    <a:pt x="15240" y="381000"/>
                  </a:lnTo>
                  <a:lnTo>
                    <a:pt x="152400" y="220980"/>
                  </a:lnTo>
                  <a:lnTo>
                    <a:pt x="198120" y="13716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1" name="Freeform 150"/>
            <p:cNvSpPr/>
            <p:nvPr/>
          </p:nvSpPr>
          <p:spPr>
            <a:xfrm>
              <a:off x="4879265" y="2563117"/>
              <a:ext cx="497612" cy="387113"/>
            </a:xfrm>
            <a:custGeom>
              <a:avLst/>
              <a:gdLst>
                <a:gd name="connsiteX0" fmla="*/ 434340 w 1021080"/>
                <a:gd name="connsiteY0" fmla="*/ 228600 h 914400"/>
                <a:gd name="connsiteX1" fmla="*/ 502920 w 1021080"/>
                <a:gd name="connsiteY1" fmla="*/ 182880 h 914400"/>
                <a:gd name="connsiteX2" fmla="*/ 632460 w 1021080"/>
                <a:gd name="connsiteY2" fmla="*/ 228600 h 914400"/>
                <a:gd name="connsiteX3" fmla="*/ 723900 w 1021080"/>
                <a:gd name="connsiteY3" fmla="*/ 76200 h 914400"/>
                <a:gd name="connsiteX4" fmla="*/ 883920 w 1021080"/>
                <a:gd name="connsiteY4" fmla="*/ 45720 h 914400"/>
                <a:gd name="connsiteX5" fmla="*/ 914400 w 1021080"/>
                <a:gd name="connsiteY5" fmla="*/ 0 h 914400"/>
                <a:gd name="connsiteX6" fmla="*/ 944880 w 1021080"/>
                <a:gd name="connsiteY6" fmla="*/ 312420 h 914400"/>
                <a:gd name="connsiteX7" fmla="*/ 899160 w 1021080"/>
                <a:gd name="connsiteY7" fmla="*/ 419100 h 914400"/>
                <a:gd name="connsiteX8" fmla="*/ 952500 w 1021080"/>
                <a:gd name="connsiteY8" fmla="*/ 457200 h 914400"/>
                <a:gd name="connsiteX9" fmla="*/ 982980 w 1021080"/>
                <a:gd name="connsiteY9" fmla="*/ 579120 h 914400"/>
                <a:gd name="connsiteX10" fmla="*/ 1021080 w 1021080"/>
                <a:gd name="connsiteY10" fmla="*/ 678180 h 914400"/>
                <a:gd name="connsiteX11" fmla="*/ 922020 w 1021080"/>
                <a:gd name="connsiteY11" fmla="*/ 762000 h 914400"/>
                <a:gd name="connsiteX12" fmla="*/ 1005840 w 1021080"/>
                <a:gd name="connsiteY12" fmla="*/ 815340 h 914400"/>
                <a:gd name="connsiteX13" fmla="*/ 975360 w 1021080"/>
                <a:gd name="connsiteY13" fmla="*/ 891540 h 914400"/>
                <a:gd name="connsiteX14" fmla="*/ 914400 w 1021080"/>
                <a:gd name="connsiteY14" fmla="*/ 815340 h 914400"/>
                <a:gd name="connsiteX15" fmla="*/ 701040 w 1021080"/>
                <a:gd name="connsiteY15" fmla="*/ 769620 h 914400"/>
                <a:gd name="connsiteX16" fmla="*/ 518160 w 1021080"/>
                <a:gd name="connsiteY16" fmla="*/ 777240 h 914400"/>
                <a:gd name="connsiteX17" fmla="*/ 457200 w 1021080"/>
                <a:gd name="connsiteY17" fmla="*/ 731520 h 914400"/>
                <a:gd name="connsiteX18" fmla="*/ 388620 w 1021080"/>
                <a:gd name="connsiteY18" fmla="*/ 883920 h 914400"/>
                <a:gd name="connsiteX19" fmla="*/ 251460 w 1021080"/>
                <a:gd name="connsiteY19" fmla="*/ 914400 h 914400"/>
                <a:gd name="connsiteX20" fmla="*/ 30480 w 1021080"/>
                <a:gd name="connsiteY20" fmla="*/ 838200 h 914400"/>
                <a:gd name="connsiteX21" fmla="*/ 0 w 1021080"/>
                <a:gd name="connsiteY21" fmla="*/ 777240 h 914400"/>
                <a:gd name="connsiteX22" fmla="*/ 152400 w 1021080"/>
                <a:gd name="connsiteY22" fmla="*/ 655320 h 914400"/>
                <a:gd name="connsiteX23" fmla="*/ 0 w 1021080"/>
                <a:gd name="connsiteY23" fmla="*/ 617220 h 914400"/>
                <a:gd name="connsiteX24" fmla="*/ 0 w 1021080"/>
                <a:gd name="connsiteY24" fmla="*/ 571500 h 914400"/>
                <a:gd name="connsiteX25" fmla="*/ 144780 w 1021080"/>
                <a:gd name="connsiteY25" fmla="*/ 548640 h 914400"/>
                <a:gd name="connsiteX26" fmla="*/ 129540 w 1021080"/>
                <a:gd name="connsiteY26" fmla="*/ 472440 h 914400"/>
                <a:gd name="connsiteX27" fmla="*/ 304800 w 1021080"/>
                <a:gd name="connsiteY27" fmla="*/ 289560 h 914400"/>
                <a:gd name="connsiteX28" fmla="*/ 434340 w 1021080"/>
                <a:gd name="connsiteY28" fmla="*/ 2286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21080" h="914400">
                  <a:moveTo>
                    <a:pt x="434340" y="228600"/>
                  </a:moveTo>
                  <a:lnTo>
                    <a:pt x="502920" y="182880"/>
                  </a:lnTo>
                  <a:lnTo>
                    <a:pt x="632460" y="228600"/>
                  </a:lnTo>
                  <a:lnTo>
                    <a:pt x="723900" y="76200"/>
                  </a:lnTo>
                  <a:lnTo>
                    <a:pt x="883920" y="45720"/>
                  </a:lnTo>
                  <a:lnTo>
                    <a:pt x="914400" y="0"/>
                  </a:lnTo>
                  <a:lnTo>
                    <a:pt x="944880" y="312420"/>
                  </a:lnTo>
                  <a:lnTo>
                    <a:pt x="899160" y="419100"/>
                  </a:lnTo>
                  <a:lnTo>
                    <a:pt x="952500" y="457200"/>
                  </a:lnTo>
                  <a:lnTo>
                    <a:pt x="982980" y="579120"/>
                  </a:lnTo>
                  <a:lnTo>
                    <a:pt x="1021080" y="678180"/>
                  </a:lnTo>
                  <a:lnTo>
                    <a:pt x="922020" y="762000"/>
                  </a:lnTo>
                  <a:lnTo>
                    <a:pt x="1005840" y="815340"/>
                  </a:lnTo>
                  <a:lnTo>
                    <a:pt x="975360" y="891540"/>
                  </a:lnTo>
                  <a:lnTo>
                    <a:pt x="914400" y="815340"/>
                  </a:lnTo>
                  <a:lnTo>
                    <a:pt x="701040" y="769620"/>
                  </a:lnTo>
                  <a:lnTo>
                    <a:pt x="518160" y="777240"/>
                  </a:lnTo>
                  <a:lnTo>
                    <a:pt x="457200" y="731520"/>
                  </a:lnTo>
                  <a:lnTo>
                    <a:pt x="388620" y="883920"/>
                  </a:lnTo>
                  <a:lnTo>
                    <a:pt x="251460" y="914400"/>
                  </a:lnTo>
                  <a:lnTo>
                    <a:pt x="30480" y="838200"/>
                  </a:lnTo>
                  <a:lnTo>
                    <a:pt x="0" y="777240"/>
                  </a:lnTo>
                  <a:lnTo>
                    <a:pt x="152400" y="655320"/>
                  </a:lnTo>
                  <a:lnTo>
                    <a:pt x="0" y="617220"/>
                  </a:lnTo>
                  <a:lnTo>
                    <a:pt x="0" y="571500"/>
                  </a:lnTo>
                  <a:lnTo>
                    <a:pt x="144780" y="548640"/>
                  </a:lnTo>
                  <a:lnTo>
                    <a:pt x="129540" y="472440"/>
                  </a:lnTo>
                  <a:lnTo>
                    <a:pt x="304800" y="289560"/>
                  </a:lnTo>
                  <a:lnTo>
                    <a:pt x="434340" y="22860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2" name="Freeform 151"/>
            <p:cNvSpPr/>
            <p:nvPr/>
          </p:nvSpPr>
          <p:spPr>
            <a:xfrm>
              <a:off x="3070783" y="2463116"/>
              <a:ext cx="571881" cy="241946"/>
            </a:xfrm>
            <a:custGeom>
              <a:avLst/>
              <a:gdLst>
                <a:gd name="connsiteX0" fmla="*/ 731520 w 1173480"/>
                <a:gd name="connsiteY0" fmla="*/ 53340 h 571500"/>
                <a:gd name="connsiteX1" fmla="*/ 617220 w 1173480"/>
                <a:gd name="connsiteY1" fmla="*/ 38100 h 571500"/>
                <a:gd name="connsiteX2" fmla="*/ 487680 w 1173480"/>
                <a:gd name="connsiteY2" fmla="*/ 60960 h 571500"/>
                <a:gd name="connsiteX3" fmla="*/ 381000 w 1173480"/>
                <a:gd name="connsiteY3" fmla="*/ 38100 h 571500"/>
                <a:gd name="connsiteX4" fmla="*/ 350520 w 1173480"/>
                <a:gd name="connsiteY4" fmla="*/ 0 h 571500"/>
                <a:gd name="connsiteX5" fmla="*/ 251460 w 1173480"/>
                <a:gd name="connsiteY5" fmla="*/ 7620 h 571500"/>
                <a:gd name="connsiteX6" fmla="*/ 205740 w 1173480"/>
                <a:gd name="connsiteY6" fmla="*/ 190500 h 571500"/>
                <a:gd name="connsiteX7" fmla="*/ 137160 w 1173480"/>
                <a:gd name="connsiteY7" fmla="*/ 152400 h 571500"/>
                <a:gd name="connsiteX8" fmla="*/ 22860 w 1173480"/>
                <a:gd name="connsiteY8" fmla="*/ 167640 h 571500"/>
                <a:gd name="connsiteX9" fmla="*/ 0 w 1173480"/>
                <a:gd name="connsiteY9" fmla="*/ 289560 h 571500"/>
                <a:gd name="connsiteX10" fmla="*/ 198120 w 1173480"/>
                <a:gd name="connsiteY10" fmla="*/ 335280 h 571500"/>
                <a:gd name="connsiteX11" fmla="*/ 228600 w 1173480"/>
                <a:gd name="connsiteY11" fmla="*/ 403860 h 571500"/>
                <a:gd name="connsiteX12" fmla="*/ 350520 w 1173480"/>
                <a:gd name="connsiteY12" fmla="*/ 434340 h 571500"/>
                <a:gd name="connsiteX13" fmla="*/ 464820 w 1173480"/>
                <a:gd name="connsiteY13" fmla="*/ 434340 h 571500"/>
                <a:gd name="connsiteX14" fmla="*/ 518160 w 1173480"/>
                <a:gd name="connsiteY14" fmla="*/ 518160 h 571500"/>
                <a:gd name="connsiteX15" fmla="*/ 693420 w 1173480"/>
                <a:gd name="connsiteY15" fmla="*/ 556260 h 571500"/>
                <a:gd name="connsiteX16" fmla="*/ 739140 w 1173480"/>
                <a:gd name="connsiteY16" fmla="*/ 441960 h 571500"/>
                <a:gd name="connsiteX17" fmla="*/ 929640 w 1173480"/>
                <a:gd name="connsiteY17" fmla="*/ 518160 h 571500"/>
                <a:gd name="connsiteX18" fmla="*/ 1074420 w 1173480"/>
                <a:gd name="connsiteY18" fmla="*/ 571500 h 571500"/>
                <a:gd name="connsiteX19" fmla="*/ 1158240 w 1173480"/>
                <a:gd name="connsiteY19" fmla="*/ 495300 h 571500"/>
                <a:gd name="connsiteX20" fmla="*/ 1173480 w 1173480"/>
                <a:gd name="connsiteY20" fmla="*/ 419100 h 571500"/>
                <a:gd name="connsiteX21" fmla="*/ 1120140 w 1173480"/>
                <a:gd name="connsiteY21" fmla="*/ 358140 h 571500"/>
                <a:gd name="connsiteX22" fmla="*/ 1005840 w 1173480"/>
                <a:gd name="connsiteY22" fmla="*/ 388620 h 571500"/>
                <a:gd name="connsiteX23" fmla="*/ 906780 w 1173480"/>
                <a:gd name="connsiteY23" fmla="*/ 129540 h 571500"/>
                <a:gd name="connsiteX24" fmla="*/ 853440 w 1173480"/>
                <a:gd name="connsiteY24" fmla="*/ 76200 h 571500"/>
                <a:gd name="connsiteX25" fmla="*/ 731520 w 1173480"/>
                <a:gd name="connsiteY25" fmla="*/ 5334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73480" h="571500">
                  <a:moveTo>
                    <a:pt x="731520" y="53340"/>
                  </a:moveTo>
                  <a:lnTo>
                    <a:pt x="617220" y="38100"/>
                  </a:lnTo>
                  <a:lnTo>
                    <a:pt x="487680" y="60960"/>
                  </a:lnTo>
                  <a:lnTo>
                    <a:pt x="381000" y="38100"/>
                  </a:lnTo>
                  <a:lnTo>
                    <a:pt x="350520" y="0"/>
                  </a:lnTo>
                  <a:lnTo>
                    <a:pt x="251460" y="7620"/>
                  </a:lnTo>
                  <a:lnTo>
                    <a:pt x="205740" y="190500"/>
                  </a:lnTo>
                  <a:lnTo>
                    <a:pt x="137160" y="152400"/>
                  </a:lnTo>
                  <a:lnTo>
                    <a:pt x="22860" y="167640"/>
                  </a:lnTo>
                  <a:lnTo>
                    <a:pt x="0" y="289560"/>
                  </a:lnTo>
                  <a:lnTo>
                    <a:pt x="198120" y="335280"/>
                  </a:lnTo>
                  <a:lnTo>
                    <a:pt x="228600" y="403860"/>
                  </a:lnTo>
                  <a:lnTo>
                    <a:pt x="350520" y="434340"/>
                  </a:lnTo>
                  <a:lnTo>
                    <a:pt x="464820" y="434340"/>
                  </a:lnTo>
                  <a:lnTo>
                    <a:pt x="518160" y="518160"/>
                  </a:lnTo>
                  <a:lnTo>
                    <a:pt x="693420" y="556260"/>
                  </a:lnTo>
                  <a:lnTo>
                    <a:pt x="739140" y="441960"/>
                  </a:lnTo>
                  <a:lnTo>
                    <a:pt x="929640" y="518160"/>
                  </a:lnTo>
                  <a:lnTo>
                    <a:pt x="1074420" y="571500"/>
                  </a:lnTo>
                  <a:lnTo>
                    <a:pt x="1158240" y="495300"/>
                  </a:lnTo>
                  <a:lnTo>
                    <a:pt x="1173480" y="419100"/>
                  </a:lnTo>
                  <a:lnTo>
                    <a:pt x="1120140" y="358140"/>
                  </a:lnTo>
                  <a:lnTo>
                    <a:pt x="1005840" y="388620"/>
                  </a:lnTo>
                  <a:lnTo>
                    <a:pt x="906780" y="129540"/>
                  </a:lnTo>
                  <a:lnTo>
                    <a:pt x="853440" y="76200"/>
                  </a:lnTo>
                  <a:lnTo>
                    <a:pt x="731520" y="53340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3" name="Freeform 152"/>
            <p:cNvSpPr/>
            <p:nvPr/>
          </p:nvSpPr>
          <p:spPr>
            <a:xfrm>
              <a:off x="3126488" y="2650219"/>
              <a:ext cx="475329" cy="364530"/>
            </a:xfrm>
            <a:custGeom>
              <a:avLst/>
              <a:gdLst>
                <a:gd name="connsiteX0" fmla="*/ 914400 w 975360"/>
                <a:gd name="connsiteY0" fmla="*/ 121920 h 861060"/>
                <a:gd name="connsiteX1" fmla="*/ 975360 w 975360"/>
                <a:gd name="connsiteY1" fmla="*/ 266700 h 861060"/>
                <a:gd name="connsiteX2" fmla="*/ 899160 w 975360"/>
                <a:gd name="connsiteY2" fmla="*/ 327660 h 861060"/>
                <a:gd name="connsiteX3" fmla="*/ 891540 w 975360"/>
                <a:gd name="connsiteY3" fmla="*/ 388620 h 861060"/>
                <a:gd name="connsiteX4" fmla="*/ 861060 w 975360"/>
                <a:gd name="connsiteY4" fmla="*/ 426720 h 861060"/>
                <a:gd name="connsiteX5" fmla="*/ 883920 w 975360"/>
                <a:gd name="connsiteY5" fmla="*/ 487680 h 861060"/>
                <a:gd name="connsiteX6" fmla="*/ 830580 w 975360"/>
                <a:gd name="connsiteY6" fmla="*/ 594360 h 861060"/>
                <a:gd name="connsiteX7" fmla="*/ 632460 w 975360"/>
                <a:gd name="connsiteY7" fmla="*/ 563880 h 861060"/>
                <a:gd name="connsiteX8" fmla="*/ 685800 w 975360"/>
                <a:gd name="connsiteY8" fmla="*/ 670560 h 861060"/>
                <a:gd name="connsiteX9" fmla="*/ 693420 w 975360"/>
                <a:gd name="connsiteY9" fmla="*/ 784860 h 861060"/>
                <a:gd name="connsiteX10" fmla="*/ 693420 w 975360"/>
                <a:gd name="connsiteY10" fmla="*/ 861060 h 861060"/>
                <a:gd name="connsiteX11" fmla="*/ 563880 w 975360"/>
                <a:gd name="connsiteY11" fmla="*/ 861060 h 861060"/>
                <a:gd name="connsiteX12" fmla="*/ 464820 w 975360"/>
                <a:gd name="connsiteY12" fmla="*/ 746760 h 861060"/>
                <a:gd name="connsiteX13" fmla="*/ 220980 w 975360"/>
                <a:gd name="connsiteY13" fmla="*/ 632460 h 861060"/>
                <a:gd name="connsiteX14" fmla="*/ 220980 w 975360"/>
                <a:gd name="connsiteY14" fmla="*/ 632460 h 861060"/>
                <a:gd name="connsiteX15" fmla="*/ 114300 w 975360"/>
                <a:gd name="connsiteY15" fmla="*/ 441960 h 861060"/>
                <a:gd name="connsiteX16" fmla="*/ 53340 w 975360"/>
                <a:gd name="connsiteY16" fmla="*/ 434340 h 861060"/>
                <a:gd name="connsiteX17" fmla="*/ 60960 w 975360"/>
                <a:gd name="connsiteY17" fmla="*/ 396240 h 861060"/>
                <a:gd name="connsiteX18" fmla="*/ 30480 w 975360"/>
                <a:gd name="connsiteY18" fmla="*/ 335280 h 861060"/>
                <a:gd name="connsiteX19" fmla="*/ 0 w 975360"/>
                <a:gd name="connsiteY19" fmla="*/ 327660 h 861060"/>
                <a:gd name="connsiteX20" fmla="*/ 22860 w 975360"/>
                <a:gd name="connsiteY20" fmla="*/ 289560 h 861060"/>
                <a:gd name="connsiteX21" fmla="*/ 7620 w 975360"/>
                <a:gd name="connsiteY21" fmla="*/ 243840 h 861060"/>
                <a:gd name="connsiteX22" fmla="*/ 144780 w 975360"/>
                <a:gd name="connsiteY22" fmla="*/ 236220 h 861060"/>
                <a:gd name="connsiteX23" fmla="*/ 175260 w 975360"/>
                <a:gd name="connsiteY23" fmla="*/ 152400 h 861060"/>
                <a:gd name="connsiteX24" fmla="*/ 251460 w 975360"/>
                <a:gd name="connsiteY24" fmla="*/ 213360 h 861060"/>
                <a:gd name="connsiteX25" fmla="*/ 274320 w 975360"/>
                <a:gd name="connsiteY25" fmla="*/ 0 h 861060"/>
                <a:gd name="connsiteX26" fmla="*/ 365760 w 975360"/>
                <a:gd name="connsiteY26" fmla="*/ 7620 h 861060"/>
                <a:gd name="connsiteX27" fmla="*/ 419100 w 975360"/>
                <a:gd name="connsiteY27" fmla="*/ 91440 h 861060"/>
                <a:gd name="connsiteX28" fmla="*/ 586740 w 975360"/>
                <a:gd name="connsiteY28" fmla="*/ 137160 h 861060"/>
                <a:gd name="connsiteX29" fmla="*/ 624840 w 975360"/>
                <a:gd name="connsiteY29" fmla="*/ 15240 h 861060"/>
                <a:gd name="connsiteX30" fmla="*/ 914400 w 975360"/>
                <a:gd name="connsiteY30" fmla="*/ 121920 h 861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75360" h="861060">
                  <a:moveTo>
                    <a:pt x="914400" y="121920"/>
                  </a:moveTo>
                  <a:lnTo>
                    <a:pt x="975360" y="266700"/>
                  </a:lnTo>
                  <a:lnTo>
                    <a:pt x="899160" y="327660"/>
                  </a:lnTo>
                  <a:lnTo>
                    <a:pt x="891540" y="388620"/>
                  </a:lnTo>
                  <a:lnTo>
                    <a:pt x="861060" y="426720"/>
                  </a:lnTo>
                  <a:lnTo>
                    <a:pt x="883920" y="487680"/>
                  </a:lnTo>
                  <a:lnTo>
                    <a:pt x="830580" y="594360"/>
                  </a:lnTo>
                  <a:lnTo>
                    <a:pt x="632460" y="563880"/>
                  </a:lnTo>
                  <a:lnTo>
                    <a:pt x="685800" y="670560"/>
                  </a:lnTo>
                  <a:lnTo>
                    <a:pt x="693420" y="784860"/>
                  </a:lnTo>
                  <a:lnTo>
                    <a:pt x="693420" y="861060"/>
                  </a:lnTo>
                  <a:lnTo>
                    <a:pt x="563880" y="861060"/>
                  </a:lnTo>
                  <a:lnTo>
                    <a:pt x="464820" y="746760"/>
                  </a:lnTo>
                  <a:lnTo>
                    <a:pt x="220980" y="632460"/>
                  </a:lnTo>
                  <a:lnTo>
                    <a:pt x="220980" y="632460"/>
                  </a:lnTo>
                  <a:lnTo>
                    <a:pt x="114300" y="441960"/>
                  </a:lnTo>
                  <a:lnTo>
                    <a:pt x="53340" y="434340"/>
                  </a:lnTo>
                  <a:lnTo>
                    <a:pt x="60960" y="396240"/>
                  </a:lnTo>
                  <a:lnTo>
                    <a:pt x="30480" y="335280"/>
                  </a:lnTo>
                  <a:lnTo>
                    <a:pt x="0" y="327660"/>
                  </a:lnTo>
                  <a:lnTo>
                    <a:pt x="22860" y="289560"/>
                  </a:lnTo>
                  <a:lnTo>
                    <a:pt x="7620" y="243840"/>
                  </a:lnTo>
                  <a:lnTo>
                    <a:pt x="144780" y="236220"/>
                  </a:lnTo>
                  <a:lnTo>
                    <a:pt x="175260" y="152400"/>
                  </a:lnTo>
                  <a:lnTo>
                    <a:pt x="251460" y="213360"/>
                  </a:lnTo>
                  <a:lnTo>
                    <a:pt x="274320" y="0"/>
                  </a:lnTo>
                  <a:lnTo>
                    <a:pt x="365760" y="7620"/>
                  </a:lnTo>
                  <a:lnTo>
                    <a:pt x="419100" y="91440"/>
                  </a:lnTo>
                  <a:lnTo>
                    <a:pt x="586740" y="137160"/>
                  </a:lnTo>
                  <a:lnTo>
                    <a:pt x="624840" y="15240"/>
                  </a:lnTo>
                  <a:lnTo>
                    <a:pt x="914400" y="12192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4" name="Freeform 153"/>
            <p:cNvSpPr/>
            <p:nvPr/>
          </p:nvSpPr>
          <p:spPr>
            <a:xfrm>
              <a:off x="3445849" y="2659895"/>
              <a:ext cx="542174" cy="545184"/>
            </a:xfrm>
            <a:custGeom>
              <a:avLst/>
              <a:gdLst>
                <a:gd name="connsiteX0" fmla="*/ 45720 w 1112520"/>
                <a:gd name="connsiteY0" fmla="*/ 830580 h 1287780"/>
                <a:gd name="connsiteX1" fmla="*/ 76200 w 1112520"/>
                <a:gd name="connsiteY1" fmla="*/ 922020 h 1287780"/>
                <a:gd name="connsiteX2" fmla="*/ 167640 w 1112520"/>
                <a:gd name="connsiteY2" fmla="*/ 990600 h 1287780"/>
                <a:gd name="connsiteX3" fmla="*/ 152400 w 1112520"/>
                <a:gd name="connsiteY3" fmla="*/ 1074420 h 1287780"/>
                <a:gd name="connsiteX4" fmla="*/ 259080 w 1112520"/>
                <a:gd name="connsiteY4" fmla="*/ 1097280 h 1287780"/>
                <a:gd name="connsiteX5" fmla="*/ 350520 w 1112520"/>
                <a:gd name="connsiteY5" fmla="*/ 1043940 h 1287780"/>
                <a:gd name="connsiteX6" fmla="*/ 541020 w 1112520"/>
                <a:gd name="connsiteY6" fmla="*/ 1158240 h 1287780"/>
                <a:gd name="connsiteX7" fmla="*/ 731520 w 1112520"/>
                <a:gd name="connsiteY7" fmla="*/ 1089660 h 1287780"/>
                <a:gd name="connsiteX8" fmla="*/ 845820 w 1112520"/>
                <a:gd name="connsiteY8" fmla="*/ 1089660 h 1287780"/>
                <a:gd name="connsiteX9" fmla="*/ 982980 w 1112520"/>
                <a:gd name="connsiteY9" fmla="*/ 1287780 h 1287780"/>
                <a:gd name="connsiteX10" fmla="*/ 1112520 w 1112520"/>
                <a:gd name="connsiteY10" fmla="*/ 1272540 h 1287780"/>
                <a:gd name="connsiteX11" fmla="*/ 1074420 w 1112520"/>
                <a:gd name="connsiteY11" fmla="*/ 1173480 h 1287780"/>
                <a:gd name="connsiteX12" fmla="*/ 1028700 w 1112520"/>
                <a:gd name="connsiteY12" fmla="*/ 891540 h 1287780"/>
                <a:gd name="connsiteX13" fmla="*/ 967740 w 1112520"/>
                <a:gd name="connsiteY13" fmla="*/ 807720 h 1287780"/>
                <a:gd name="connsiteX14" fmla="*/ 891540 w 1112520"/>
                <a:gd name="connsiteY14" fmla="*/ 685800 h 1287780"/>
                <a:gd name="connsiteX15" fmla="*/ 777240 w 1112520"/>
                <a:gd name="connsiteY15" fmla="*/ 601980 h 1287780"/>
                <a:gd name="connsiteX16" fmla="*/ 739140 w 1112520"/>
                <a:gd name="connsiteY16" fmla="*/ 632460 h 1287780"/>
                <a:gd name="connsiteX17" fmla="*/ 693420 w 1112520"/>
                <a:gd name="connsiteY17" fmla="*/ 571500 h 1287780"/>
                <a:gd name="connsiteX18" fmla="*/ 716280 w 1112520"/>
                <a:gd name="connsiteY18" fmla="*/ 419100 h 1287780"/>
                <a:gd name="connsiteX19" fmla="*/ 640080 w 1112520"/>
                <a:gd name="connsiteY19" fmla="*/ 167640 h 1287780"/>
                <a:gd name="connsiteX20" fmla="*/ 419100 w 1112520"/>
                <a:gd name="connsiteY20" fmla="*/ 0 h 1287780"/>
                <a:gd name="connsiteX21" fmla="*/ 297180 w 1112520"/>
                <a:gd name="connsiteY21" fmla="*/ 83820 h 1287780"/>
                <a:gd name="connsiteX22" fmla="*/ 289560 w 1112520"/>
                <a:gd name="connsiteY22" fmla="*/ 129540 h 1287780"/>
                <a:gd name="connsiteX23" fmla="*/ 327660 w 1112520"/>
                <a:gd name="connsiteY23" fmla="*/ 259080 h 1287780"/>
                <a:gd name="connsiteX24" fmla="*/ 259080 w 1112520"/>
                <a:gd name="connsiteY24" fmla="*/ 297180 h 1287780"/>
                <a:gd name="connsiteX25" fmla="*/ 236220 w 1112520"/>
                <a:gd name="connsiteY25" fmla="*/ 358140 h 1287780"/>
                <a:gd name="connsiteX26" fmla="*/ 213360 w 1112520"/>
                <a:gd name="connsiteY26" fmla="*/ 381000 h 1287780"/>
                <a:gd name="connsiteX27" fmla="*/ 243840 w 1112520"/>
                <a:gd name="connsiteY27" fmla="*/ 464820 h 1287780"/>
                <a:gd name="connsiteX28" fmla="*/ 182880 w 1112520"/>
                <a:gd name="connsiteY28" fmla="*/ 571500 h 1287780"/>
                <a:gd name="connsiteX29" fmla="*/ 0 w 1112520"/>
                <a:gd name="connsiteY29" fmla="*/ 548640 h 1287780"/>
                <a:gd name="connsiteX30" fmla="*/ 22860 w 1112520"/>
                <a:gd name="connsiteY30" fmla="*/ 647700 h 1287780"/>
                <a:gd name="connsiteX31" fmla="*/ 45720 w 1112520"/>
                <a:gd name="connsiteY31" fmla="*/ 830580 h 1287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12520" h="1287780">
                  <a:moveTo>
                    <a:pt x="45720" y="830580"/>
                  </a:moveTo>
                  <a:lnTo>
                    <a:pt x="76200" y="922020"/>
                  </a:lnTo>
                  <a:lnTo>
                    <a:pt x="167640" y="990600"/>
                  </a:lnTo>
                  <a:lnTo>
                    <a:pt x="152400" y="1074420"/>
                  </a:lnTo>
                  <a:lnTo>
                    <a:pt x="259080" y="1097280"/>
                  </a:lnTo>
                  <a:lnTo>
                    <a:pt x="350520" y="1043940"/>
                  </a:lnTo>
                  <a:lnTo>
                    <a:pt x="541020" y="1158240"/>
                  </a:lnTo>
                  <a:lnTo>
                    <a:pt x="731520" y="1089660"/>
                  </a:lnTo>
                  <a:lnTo>
                    <a:pt x="845820" y="1089660"/>
                  </a:lnTo>
                  <a:lnTo>
                    <a:pt x="982980" y="1287780"/>
                  </a:lnTo>
                  <a:lnTo>
                    <a:pt x="1112520" y="1272540"/>
                  </a:lnTo>
                  <a:lnTo>
                    <a:pt x="1074420" y="1173480"/>
                  </a:lnTo>
                  <a:lnTo>
                    <a:pt x="1028700" y="891540"/>
                  </a:lnTo>
                  <a:lnTo>
                    <a:pt x="967740" y="807720"/>
                  </a:lnTo>
                  <a:lnTo>
                    <a:pt x="891540" y="685800"/>
                  </a:lnTo>
                  <a:lnTo>
                    <a:pt x="777240" y="601980"/>
                  </a:lnTo>
                  <a:lnTo>
                    <a:pt x="739140" y="632460"/>
                  </a:lnTo>
                  <a:lnTo>
                    <a:pt x="693420" y="571500"/>
                  </a:lnTo>
                  <a:lnTo>
                    <a:pt x="716280" y="419100"/>
                  </a:lnTo>
                  <a:lnTo>
                    <a:pt x="640080" y="167640"/>
                  </a:lnTo>
                  <a:lnTo>
                    <a:pt x="419100" y="0"/>
                  </a:lnTo>
                  <a:lnTo>
                    <a:pt x="297180" y="83820"/>
                  </a:lnTo>
                  <a:lnTo>
                    <a:pt x="289560" y="129540"/>
                  </a:lnTo>
                  <a:lnTo>
                    <a:pt x="327660" y="259080"/>
                  </a:lnTo>
                  <a:lnTo>
                    <a:pt x="259080" y="297180"/>
                  </a:lnTo>
                  <a:lnTo>
                    <a:pt x="236220" y="358140"/>
                  </a:lnTo>
                  <a:lnTo>
                    <a:pt x="213360" y="381000"/>
                  </a:lnTo>
                  <a:lnTo>
                    <a:pt x="243840" y="464820"/>
                  </a:lnTo>
                  <a:lnTo>
                    <a:pt x="182880" y="571500"/>
                  </a:lnTo>
                  <a:lnTo>
                    <a:pt x="0" y="548640"/>
                  </a:lnTo>
                  <a:lnTo>
                    <a:pt x="22860" y="647700"/>
                  </a:lnTo>
                  <a:lnTo>
                    <a:pt x="45720" y="83058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5" name="Freeform 154"/>
            <p:cNvSpPr/>
            <p:nvPr/>
          </p:nvSpPr>
          <p:spPr>
            <a:xfrm>
              <a:off x="3765211" y="2666349"/>
              <a:ext cx="623872" cy="335497"/>
            </a:xfrm>
            <a:custGeom>
              <a:avLst/>
              <a:gdLst>
                <a:gd name="connsiteX0" fmla="*/ 236220 w 1280160"/>
                <a:gd name="connsiteY0" fmla="*/ 640080 h 792480"/>
                <a:gd name="connsiteX1" fmla="*/ 441960 w 1280160"/>
                <a:gd name="connsiteY1" fmla="*/ 609600 h 792480"/>
                <a:gd name="connsiteX2" fmla="*/ 487680 w 1280160"/>
                <a:gd name="connsiteY2" fmla="*/ 640080 h 792480"/>
                <a:gd name="connsiteX3" fmla="*/ 563880 w 1280160"/>
                <a:gd name="connsiteY3" fmla="*/ 617220 h 792480"/>
                <a:gd name="connsiteX4" fmla="*/ 594360 w 1280160"/>
                <a:gd name="connsiteY4" fmla="*/ 708660 h 792480"/>
                <a:gd name="connsiteX5" fmla="*/ 769620 w 1280160"/>
                <a:gd name="connsiteY5" fmla="*/ 739140 h 792480"/>
                <a:gd name="connsiteX6" fmla="*/ 891540 w 1280160"/>
                <a:gd name="connsiteY6" fmla="*/ 792480 h 792480"/>
                <a:gd name="connsiteX7" fmla="*/ 1082040 w 1280160"/>
                <a:gd name="connsiteY7" fmla="*/ 754380 h 792480"/>
                <a:gd name="connsiteX8" fmla="*/ 1074420 w 1280160"/>
                <a:gd name="connsiteY8" fmla="*/ 708660 h 792480"/>
                <a:gd name="connsiteX9" fmla="*/ 1181100 w 1280160"/>
                <a:gd name="connsiteY9" fmla="*/ 571500 h 792480"/>
                <a:gd name="connsiteX10" fmla="*/ 1203960 w 1280160"/>
                <a:gd name="connsiteY10" fmla="*/ 487680 h 792480"/>
                <a:gd name="connsiteX11" fmla="*/ 1280160 w 1280160"/>
                <a:gd name="connsiteY11" fmla="*/ 419100 h 792480"/>
                <a:gd name="connsiteX12" fmla="*/ 1196340 w 1280160"/>
                <a:gd name="connsiteY12" fmla="*/ 327660 h 792480"/>
                <a:gd name="connsiteX13" fmla="*/ 1188720 w 1280160"/>
                <a:gd name="connsiteY13" fmla="*/ 228600 h 792480"/>
                <a:gd name="connsiteX14" fmla="*/ 1226820 w 1280160"/>
                <a:gd name="connsiteY14" fmla="*/ 114300 h 792480"/>
                <a:gd name="connsiteX15" fmla="*/ 1097280 w 1280160"/>
                <a:gd name="connsiteY15" fmla="*/ 114300 h 792480"/>
                <a:gd name="connsiteX16" fmla="*/ 990600 w 1280160"/>
                <a:gd name="connsiteY16" fmla="*/ 7620 h 792480"/>
                <a:gd name="connsiteX17" fmla="*/ 876300 w 1280160"/>
                <a:gd name="connsiteY17" fmla="*/ 22860 h 792480"/>
                <a:gd name="connsiteX18" fmla="*/ 800100 w 1280160"/>
                <a:gd name="connsiteY18" fmla="*/ 144780 h 792480"/>
                <a:gd name="connsiteX19" fmla="*/ 662940 w 1280160"/>
                <a:gd name="connsiteY19" fmla="*/ 15240 h 792480"/>
                <a:gd name="connsiteX20" fmla="*/ 678180 w 1280160"/>
                <a:gd name="connsiteY20" fmla="*/ 83820 h 792480"/>
                <a:gd name="connsiteX21" fmla="*/ 548640 w 1280160"/>
                <a:gd name="connsiteY21" fmla="*/ 0 h 792480"/>
                <a:gd name="connsiteX22" fmla="*/ 594360 w 1280160"/>
                <a:gd name="connsiteY22" fmla="*/ 121920 h 792480"/>
                <a:gd name="connsiteX23" fmla="*/ 495300 w 1280160"/>
                <a:gd name="connsiteY23" fmla="*/ 91440 h 792480"/>
                <a:gd name="connsiteX24" fmla="*/ 464820 w 1280160"/>
                <a:gd name="connsiteY24" fmla="*/ 53340 h 792480"/>
                <a:gd name="connsiteX25" fmla="*/ 403860 w 1280160"/>
                <a:gd name="connsiteY25" fmla="*/ 99060 h 792480"/>
                <a:gd name="connsiteX26" fmla="*/ 175260 w 1280160"/>
                <a:gd name="connsiteY26" fmla="*/ 53340 h 792480"/>
                <a:gd name="connsiteX27" fmla="*/ 68580 w 1280160"/>
                <a:gd name="connsiteY27" fmla="*/ 60960 h 792480"/>
                <a:gd name="connsiteX28" fmla="*/ 0 w 1280160"/>
                <a:gd name="connsiteY28" fmla="*/ 152400 h 792480"/>
                <a:gd name="connsiteX29" fmla="*/ 68580 w 1280160"/>
                <a:gd name="connsiteY29" fmla="*/ 381000 h 792480"/>
                <a:gd name="connsiteX30" fmla="*/ 45720 w 1280160"/>
                <a:gd name="connsiteY30" fmla="*/ 518160 h 792480"/>
                <a:gd name="connsiteX31" fmla="*/ 91440 w 1280160"/>
                <a:gd name="connsiteY31" fmla="*/ 609600 h 792480"/>
                <a:gd name="connsiteX32" fmla="*/ 121920 w 1280160"/>
                <a:gd name="connsiteY32" fmla="*/ 586740 h 792480"/>
                <a:gd name="connsiteX33" fmla="*/ 251460 w 1280160"/>
                <a:gd name="connsiteY33" fmla="*/ 701040 h 792480"/>
                <a:gd name="connsiteX34" fmla="*/ 236220 w 1280160"/>
                <a:gd name="connsiteY34" fmla="*/ 640080 h 792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280160" h="792480">
                  <a:moveTo>
                    <a:pt x="236220" y="640080"/>
                  </a:moveTo>
                  <a:lnTo>
                    <a:pt x="441960" y="609600"/>
                  </a:lnTo>
                  <a:lnTo>
                    <a:pt x="487680" y="640080"/>
                  </a:lnTo>
                  <a:lnTo>
                    <a:pt x="563880" y="617220"/>
                  </a:lnTo>
                  <a:lnTo>
                    <a:pt x="594360" y="708660"/>
                  </a:lnTo>
                  <a:lnTo>
                    <a:pt x="769620" y="739140"/>
                  </a:lnTo>
                  <a:lnTo>
                    <a:pt x="891540" y="792480"/>
                  </a:lnTo>
                  <a:lnTo>
                    <a:pt x="1082040" y="754380"/>
                  </a:lnTo>
                  <a:lnTo>
                    <a:pt x="1074420" y="708660"/>
                  </a:lnTo>
                  <a:lnTo>
                    <a:pt x="1181100" y="571500"/>
                  </a:lnTo>
                  <a:lnTo>
                    <a:pt x="1203960" y="487680"/>
                  </a:lnTo>
                  <a:lnTo>
                    <a:pt x="1280160" y="419100"/>
                  </a:lnTo>
                  <a:lnTo>
                    <a:pt x="1196340" y="327660"/>
                  </a:lnTo>
                  <a:lnTo>
                    <a:pt x="1188720" y="228600"/>
                  </a:lnTo>
                  <a:lnTo>
                    <a:pt x="1226820" y="114300"/>
                  </a:lnTo>
                  <a:lnTo>
                    <a:pt x="1097280" y="114300"/>
                  </a:lnTo>
                  <a:lnTo>
                    <a:pt x="990600" y="7620"/>
                  </a:lnTo>
                  <a:lnTo>
                    <a:pt x="876300" y="22860"/>
                  </a:lnTo>
                  <a:lnTo>
                    <a:pt x="800100" y="144780"/>
                  </a:lnTo>
                  <a:lnTo>
                    <a:pt x="662940" y="15240"/>
                  </a:lnTo>
                  <a:lnTo>
                    <a:pt x="678180" y="83820"/>
                  </a:lnTo>
                  <a:lnTo>
                    <a:pt x="548640" y="0"/>
                  </a:lnTo>
                  <a:lnTo>
                    <a:pt x="594360" y="121920"/>
                  </a:lnTo>
                  <a:lnTo>
                    <a:pt x="495300" y="91440"/>
                  </a:lnTo>
                  <a:lnTo>
                    <a:pt x="464820" y="53340"/>
                  </a:lnTo>
                  <a:lnTo>
                    <a:pt x="403860" y="99060"/>
                  </a:lnTo>
                  <a:lnTo>
                    <a:pt x="175260" y="53340"/>
                  </a:lnTo>
                  <a:lnTo>
                    <a:pt x="68580" y="60960"/>
                  </a:lnTo>
                  <a:lnTo>
                    <a:pt x="0" y="152400"/>
                  </a:lnTo>
                  <a:lnTo>
                    <a:pt x="68580" y="381000"/>
                  </a:lnTo>
                  <a:lnTo>
                    <a:pt x="45720" y="518160"/>
                  </a:lnTo>
                  <a:lnTo>
                    <a:pt x="91440" y="609600"/>
                  </a:lnTo>
                  <a:lnTo>
                    <a:pt x="121920" y="586740"/>
                  </a:lnTo>
                  <a:lnTo>
                    <a:pt x="251460" y="701040"/>
                  </a:lnTo>
                  <a:lnTo>
                    <a:pt x="236220" y="64008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6" name="Freeform 155"/>
            <p:cNvSpPr/>
            <p:nvPr/>
          </p:nvSpPr>
          <p:spPr>
            <a:xfrm>
              <a:off x="4344521" y="2643765"/>
              <a:ext cx="516180" cy="503248"/>
            </a:xfrm>
            <a:custGeom>
              <a:avLst/>
              <a:gdLst>
                <a:gd name="connsiteX0" fmla="*/ 0 w 1059180"/>
                <a:gd name="connsiteY0" fmla="*/ 624840 h 1188720"/>
                <a:gd name="connsiteX1" fmla="*/ 76200 w 1059180"/>
                <a:gd name="connsiteY1" fmla="*/ 708660 h 1188720"/>
                <a:gd name="connsiteX2" fmla="*/ 213360 w 1059180"/>
                <a:gd name="connsiteY2" fmla="*/ 708660 h 1188720"/>
                <a:gd name="connsiteX3" fmla="*/ 251460 w 1059180"/>
                <a:gd name="connsiteY3" fmla="*/ 754380 h 1188720"/>
                <a:gd name="connsiteX4" fmla="*/ 510540 w 1059180"/>
                <a:gd name="connsiteY4" fmla="*/ 853440 h 1188720"/>
                <a:gd name="connsiteX5" fmla="*/ 632460 w 1059180"/>
                <a:gd name="connsiteY5" fmla="*/ 952500 h 1188720"/>
                <a:gd name="connsiteX6" fmla="*/ 754380 w 1059180"/>
                <a:gd name="connsiteY6" fmla="*/ 937260 h 1188720"/>
                <a:gd name="connsiteX7" fmla="*/ 784860 w 1059180"/>
                <a:gd name="connsiteY7" fmla="*/ 1028700 h 1188720"/>
                <a:gd name="connsiteX8" fmla="*/ 784860 w 1059180"/>
                <a:gd name="connsiteY8" fmla="*/ 1097280 h 1188720"/>
                <a:gd name="connsiteX9" fmla="*/ 861060 w 1059180"/>
                <a:gd name="connsiteY9" fmla="*/ 1181100 h 1188720"/>
                <a:gd name="connsiteX10" fmla="*/ 998220 w 1059180"/>
                <a:gd name="connsiteY10" fmla="*/ 1188720 h 1188720"/>
                <a:gd name="connsiteX11" fmla="*/ 1051560 w 1059180"/>
                <a:gd name="connsiteY11" fmla="*/ 1150620 h 1188720"/>
                <a:gd name="connsiteX12" fmla="*/ 1059180 w 1059180"/>
                <a:gd name="connsiteY12" fmla="*/ 1074420 h 1188720"/>
                <a:gd name="connsiteX13" fmla="*/ 937260 w 1059180"/>
                <a:gd name="connsiteY13" fmla="*/ 952500 h 1188720"/>
                <a:gd name="connsiteX14" fmla="*/ 1013460 w 1059180"/>
                <a:gd name="connsiteY14" fmla="*/ 861060 h 1188720"/>
                <a:gd name="connsiteX15" fmla="*/ 1021080 w 1059180"/>
                <a:gd name="connsiteY15" fmla="*/ 670560 h 1188720"/>
                <a:gd name="connsiteX16" fmla="*/ 929640 w 1059180"/>
                <a:gd name="connsiteY16" fmla="*/ 579120 h 1188720"/>
                <a:gd name="connsiteX17" fmla="*/ 929640 w 1059180"/>
                <a:gd name="connsiteY17" fmla="*/ 472440 h 1188720"/>
                <a:gd name="connsiteX18" fmla="*/ 769620 w 1059180"/>
                <a:gd name="connsiteY18" fmla="*/ 388620 h 1188720"/>
                <a:gd name="connsiteX19" fmla="*/ 556260 w 1059180"/>
                <a:gd name="connsiteY19" fmla="*/ 396240 h 1188720"/>
                <a:gd name="connsiteX20" fmla="*/ 419100 w 1059180"/>
                <a:gd name="connsiteY20" fmla="*/ 312420 h 1188720"/>
                <a:gd name="connsiteX21" fmla="*/ 441960 w 1059180"/>
                <a:gd name="connsiteY21" fmla="*/ 259080 h 1188720"/>
                <a:gd name="connsiteX22" fmla="*/ 335280 w 1059180"/>
                <a:gd name="connsiteY22" fmla="*/ 228600 h 1188720"/>
                <a:gd name="connsiteX23" fmla="*/ 312420 w 1059180"/>
                <a:gd name="connsiteY23" fmla="*/ 251460 h 1188720"/>
                <a:gd name="connsiteX24" fmla="*/ 205740 w 1059180"/>
                <a:gd name="connsiteY24" fmla="*/ 236220 h 1188720"/>
                <a:gd name="connsiteX25" fmla="*/ 228600 w 1059180"/>
                <a:gd name="connsiteY25" fmla="*/ 121920 h 1188720"/>
                <a:gd name="connsiteX26" fmla="*/ 205740 w 1059180"/>
                <a:gd name="connsiteY26" fmla="*/ 53340 h 1188720"/>
                <a:gd name="connsiteX27" fmla="*/ 106680 w 1059180"/>
                <a:gd name="connsiteY27" fmla="*/ 45720 h 1188720"/>
                <a:gd name="connsiteX28" fmla="*/ 114300 w 1059180"/>
                <a:gd name="connsiteY28" fmla="*/ 0 h 1188720"/>
                <a:gd name="connsiteX29" fmla="*/ 7620 w 1059180"/>
                <a:gd name="connsiteY29" fmla="*/ 45720 h 1188720"/>
                <a:gd name="connsiteX30" fmla="*/ 60960 w 1059180"/>
                <a:gd name="connsiteY30" fmla="*/ 144780 h 1188720"/>
                <a:gd name="connsiteX31" fmla="*/ 0 w 1059180"/>
                <a:gd name="connsiteY31" fmla="*/ 236220 h 1188720"/>
                <a:gd name="connsiteX32" fmla="*/ 22860 w 1059180"/>
                <a:gd name="connsiteY32" fmla="*/ 388620 h 1188720"/>
                <a:gd name="connsiteX33" fmla="*/ 91440 w 1059180"/>
                <a:gd name="connsiteY33" fmla="*/ 472440 h 1188720"/>
                <a:gd name="connsiteX34" fmla="*/ 0 w 1059180"/>
                <a:gd name="connsiteY34" fmla="*/ 624840 h 118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059180" h="1188720">
                  <a:moveTo>
                    <a:pt x="0" y="624840"/>
                  </a:moveTo>
                  <a:lnTo>
                    <a:pt x="76200" y="708660"/>
                  </a:lnTo>
                  <a:lnTo>
                    <a:pt x="213360" y="708660"/>
                  </a:lnTo>
                  <a:lnTo>
                    <a:pt x="251460" y="754380"/>
                  </a:lnTo>
                  <a:lnTo>
                    <a:pt x="510540" y="853440"/>
                  </a:lnTo>
                  <a:lnTo>
                    <a:pt x="632460" y="952500"/>
                  </a:lnTo>
                  <a:lnTo>
                    <a:pt x="754380" y="937260"/>
                  </a:lnTo>
                  <a:lnTo>
                    <a:pt x="784860" y="1028700"/>
                  </a:lnTo>
                  <a:lnTo>
                    <a:pt x="784860" y="1097280"/>
                  </a:lnTo>
                  <a:lnTo>
                    <a:pt x="861060" y="1181100"/>
                  </a:lnTo>
                  <a:lnTo>
                    <a:pt x="998220" y="1188720"/>
                  </a:lnTo>
                  <a:lnTo>
                    <a:pt x="1051560" y="1150620"/>
                  </a:lnTo>
                  <a:lnTo>
                    <a:pt x="1059180" y="1074420"/>
                  </a:lnTo>
                  <a:lnTo>
                    <a:pt x="937260" y="952500"/>
                  </a:lnTo>
                  <a:lnTo>
                    <a:pt x="1013460" y="861060"/>
                  </a:lnTo>
                  <a:lnTo>
                    <a:pt x="1021080" y="670560"/>
                  </a:lnTo>
                  <a:lnTo>
                    <a:pt x="929640" y="579120"/>
                  </a:lnTo>
                  <a:lnTo>
                    <a:pt x="929640" y="472440"/>
                  </a:lnTo>
                  <a:lnTo>
                    <a:pt x="769620" y="388620"/>
                  </a:lnTo>
                  <a:lnTo>
                    <a:pt x="556260" y="396240"/>
                  </a:lnTo>
                  <a:lnTo>
                    <a:pt x="419100" y="312420"/>
                  </a:lnTo>
                  <a:lnTo>
                    <a:pt x="441960" y="259080"/>
                  </a:lnTo>
                  <a:lnTo>
                    <a:pt x="335280" y="228600"/>
                  </a:lnTo>
                  <a:lnTo>
                    <a:pt x="312420" y="251460"/>
                  </a:lnTo>
                  <a:lnTo>
                    <a:pt x="205740" y="236220"/>
                  </a:lnTo>
                  <a:lnTo>
                    <a:pt x="228600" y="121920"/>
                  </a:lnTo>
                  <a:lnTo>
                    <a:pt x="205740" y="53340"/>
                  </a:lnTo>
                  <a:lnTo>
                    <a:pt x="106680" y="45720"/>
                  </a:lnTo>
                  <a:lnTo>
                    <a:pt x="114300" y="0"/>
                  </a:lnTo>
                  <a:lnTo>
                    <a:pt x="7620" y="45720"/>
                  </a:lnTo>
                  <a:lnTo>
                    <a:pt x="60960" y="144780"/>
                  </a:lnTo>
                  <a:lnTo>
                    <a:pt x="0" y="236220"/>
                  </a:lnTo>
                  <a:lnTo>
                    <a:pt x="22860" y="388620"/>
                  </a:lnTo>
                  <a:lnTo>
                    <a:pt x="91440" y="472440"/>
                  </a:lnTo>
                  <a:lnTo>
                    <a:pt x="0" y="62484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7" name="Freeform 156"/>
            <p:cNvSpPr/>
            <p:nvPr/>
          </p:nvSpPr>
          <p:spPr>
            <a:xfrm>
              <a:off x="5317458" y="2563117"/>
              <a:ext cx="471615" cy="425826"/>
            </a:xfrm>
            <a:custGeom>
              <a:avLst/>
              <a:gdLst>
                <a:gd name="connsiteX0" fmla="*/ 22860 w 967740"/>
                <a:gd name="connsiteY0" fmla="*/ 0 h 1005840"/>
                <a:gd name="connsiteX1" fmla="*/ 76200 w 967740"/>
                <a:gd name="connsiteY1" fmla="*/ 236220 h 1005840"/>
                <a:gd name="connsiteX2" fmla="*/ 167640 w 967740"/>
                <a:gd name="connsiteY2" fmla="*/ 289560 h 1005840"/>
                <a:gd name="connsiteX3" fmla="*/ 350520 w 967740"/>
                <a:gd name="connsiteY3" fmla="*/ 266700 h 1005840"/>
                <a:gd name="connsiteX4" fmla="*/ 441960 w 967740"/>
                <a:gd name="connsiteY4" fmla="*/ 365760 h 1005840"/>
                <a:gd name="connsiteX5" fmla="*/ 487680 w 967740"/>
                <a:gd name="connsiteY5" fmla="*/ 266700 h 1005840"/>
                <a:gd name="connsiteX6" fmla="*/ 685800 w 967740"/>
                <a:gd name="connsiteY6" fmla="*/ 205740 h 1005840"/>
                <a:gd name="connsiteX7" fmla="*/ 853440 w 967740"/>
                <a:gd name="connsiteY7" fmla="*/ 335280 h 1005840"/>
                <a:gd name="connsiteX8" fmla="*/ 883920 w 967740"/>
                <a:gd name="connsiteY8" fmla="*/ 411480 h 1005840"/>
                <a:gd name="connsiteX9" fmla="*/ 952500 w 967740"/>
                <a:gd name="connsiteY9" fmla="*/ 472440 h 1005840"/>
                <a:gd name="connsiteX10" fmla="*/ 952500 w 967740"/>
                <a:gd name="connsiteY10" fmla="*/ 510540 h 1005840"/>
                <a:gd name="connsiteX11" fmla="*/ 967740 w 967740"/>
                <a:gd name="connsiteY11" fmla="*/ 754380 h 1005840"/>
                <a:gd name="connsiteX12" fmla="*/ 967740 w 967740"/>
                <a:gd name="connsiteY12" fmla="*/ 830580 h 1005840"/>
                <a:gd name="connsiteX13" fmla="*/ 861060 w 967740"/>
                <a:gd name="connsiteY13" fmla="*/ 838200 h 1005840"/>
                <a:gd name="connsiteX14" fmla="*/ 845820 w 967740"/>
                <a:gd name="connsiteY14" fmla="*/ 944880 h 1005840"/>
                <a:gd name="connsiteX15" fmla="*/ 746760 w 967740"/>
                <a:gd name="connsiteY15" fmla="*/ 982980 h 1005840"/>
                <a:gd name="connsiteX16" fmla="*/ 609600 w 967740"/>
                <a:gd name="connsiteY16" fmla="*/ 975360 h 1005840"/>
                <a:gd name="connsiteX17" fmla="*/ 464820 w 967740"/>
                <a:gd name="connsiteY17" fmla="*/ 982980 h 1005840"/>
                <a:gd name="connsiteX18" fmla="*/ 388620 w 967740"/>
                <a:gd name="connsiteY18" fmla="*/ 960120 h 1005840"/>
                <a:gd name="connsiteX19" fmla="*/ 205740 w 967740"/>
                <a:gd name="connsiteY19" fmla="*/ 998220 h 1005840"/>
                <a:gd name="connsiteX20" fmla="*/ 137160 w 967740"/>
                <a:gd name="connsiteY20" fmla="*/ 1005840 h 1005840"/>
                <a:gd name="connsiteX21" fmla="*/ 91440 w 967740"/>
                <a:gd name="connsiteY21" fmla="*/ 876300 h 1005840"/>
                <a:gd name="connsiteX22" fmla="*/ 121920 w 967740"/>
                <a:gd name="connsiteY22" fmla="*/ 830580 h 1005840"/>
                <a:gd name="connsiteX23" fmla="*/ 60960 w 967740"/>
                <a:gd name="connsiteY23" fmla="*/ 769620 h 1005840"/>
                <a:gd name="connsiteX24" fmla="*/ 129540 w 967740"/>
                <a:gd name="connsiteY24" fmla="*/ 678180 h 1005840"/>
                <a:gd name="connsiteX25" fmla="*/ 53340 w 967740"/>
                <a:gd name="connsiteY25" fmla="*/ 495300 h 1005840"/>
                <a:gd name="connsiteX26" fmla="*/ 0 w 967740"/>
                <a:gd name="connsiteY26" fmla="*/ 449580 h 1005840"/>
                <a:gd name="connsiteX27" fmla="*/ 60960 w 967740"/>
                <a:gd name="connsiteY27" fmla="*/ 312420 h 1005840"/>
                <a:gd name="connsiteX28" fmla="*/ 22860 w 967740"/>
                <a:gd name="connsiteY28" fmla="*/ 0 h 1005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67740" h="1005840">
                  <a:moveTo>
                    <a:pt x="22860" y="0"/>
                  </a:moveTo>
                  <a:lnTo>
                    <a:pt x="76200" y="236220"/>
                  </a:lnTo>
                  <a:lnTo>
                    <a:pt x="167640" y="289560"/>
                  </a:lnTo>
                  <a:lnTo>
                    <a:pt x="350520" y="266700"/>
                  </a:lnTo>
                  <a:lnTo>
                    <a:pt x="441960" y="365760"/>
                  </a:lnTo>
                  <a:lnTo>
                    <a:pt x="487680" y="266700"/>
                  </a:lnTo>
                  <a:lnTo>
                    <a:pt x="685800" y="205740"/>
                  </a:lnTo>
                  <a:lnTo>
                    <a:pt x="853440" y="335280"/>
                  </a:lnTo>
                  <a:lnTo>
                    <a:pt x="883920" y="411480"/>
                  </a:lnTo>
                  <a:lnTo>
                    <a:pt x="952500" y="472440"/>
                  </a:lnTo>
                  <a:lnTo>
                    <a:pt x="952500" y="510540"/>
                  </a:lnTo>
                  <a:lnTo>
                    <a:pt x="967740" y="754380"/>
                  </a:lnTo>
                  <a:lnTo>
                    <a:pt x="967740" y="830580"/>
                  </a:lnTo>
                  <a:lnTo>
                    <a:pt x="861060" y="838200"/>
                  </a:lnTo>
                  <a:lnTo>
                    <a:pt x="845820" y="944880"/>
                  </a:lnTo>
                  <a:lnTo>
                    <a:pt x="746760" y="982980"/>
                  </a:lnTo>
                  <a:lnTo>
                    <a:pt x="609600" y="975360"/>
                  </a:lnTo>
                  <a:lnTo>
                    <a:pt x="464820" y="982980"/>
                  </a:lnTo>
                  <a:lnTo>
                    <a:pt x="388620" y="960120"/>
                  </a:lnTo>
                  <a:lnTo>
                    <a:pt x="205740" y="998220"/>
                  </a:lnTo>
                  <a:lnTo>
                    <a:pt x="137160" y="1005840"/>
                  </a:lnTo>
                  <a:lnTo>
                    <a:pt x="91440" y="876300"/>
                  </a:lnTo>
                  <a:lnTo>
                    <a:pt x="121920" y="830580"/>
                  </a:lnTo>
                  <a:lnTo>
                    <a:pt x="60960" y="769620"/>
                  </a:lnTo>
                  <a:lnTo>
                    <a:pt x="129540" y="678180"/>
                  </a:lnTo>
                  <a:lnTo>
                    <a:pt x="53340" y="495300"/>
                  </a:lnTo>
                  <a:lnTo>
                    <a:pt x="0" y="449580"/>
                  </a:lnTo>
                  <a:lnTo>
                    <a:pt x="60960" y="312420"/>
                  </a:lnTo>
                  <a:lnTo>
                    <a:pt x="22860" y="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8" name="Freeform 157"/>
            <p:cNvSpPr/>
            <p:nvPr/>
          </p:nvSpPr>
          <p:spPr>
            <a:xfrm>
              <a:off x="5737086" y="2582477"/>
              <a:ext cx="493897" cy="345177"/>
            </a:xfrm>
            <a:custGeom>
              <a:avLst/>
              <a:gdLst>
                <a:gd name="connsiteX0" fmla="*/ 0 w 1013460"/>
                <a:gd name="connsiteY0" fmla="*/ 274320 h 815340"/>
                <a:gd name="connsiteX1" fmla="*/ 76200 w 1013460"/>
                <a:gd name="connsiteY1" fmla="*/ 228600 h 815340"/>
                <a:gd name="connsiteX2" fmla="*/ 83820 w 1013460"/>
                <a:gd name="connsiteY2" fmla="*/ 175260 h 815340"/>
                <a:gd name="connsiteX3" fmla="*/ 198120 w 1013460"/>
                <a:gd name="connsiteY3" fmla="*/ 228600 h 815340"/>
                <a:gd name="connsiteX4" fmla="*/ 251460 w 1013460"/>
                <a:gd name="connsiteY4" fmla="*/ 144780 h 815340"/>
                <a:gd name="connsiteX5" fmla="*/ 335280 w 1013460"/>
                <a:gd name="connsiteY5" fmla="*/ 175260 h 815340"/>
                <a:gd name="connsiteX6" fmla="*/ 381000 w 1013460"/>
                <a:gd name="connsiteY6" fmla="*/ 137160 h 815340"/>
                <a:gd name="connsiteX7" fmla="*/ 594360 w 1013460"/>
                <a:gd name="connsiteY7" fmla="*/ 320040 h 815340"/>
                <a:gd name="connsiteX8" fmla="*/ 678180 w 1013460"/>
                <a:gd name="connsiteY8" fmla="*/ 228600 h 815340"/>
                <a:gd name="connsiteX9" fmla="*/ 731520 w 1013460"/>
                <a:gd name="connsiteY9" fmla="*/ 38100 h 815340"/>
                <a:gd name="connsiteX10" fmla="*/ 800100 w 1013460"/>
                <a:gd name="connsiteY10" fmla="*/ 76200 h 815340"/>
                <a:gd name="connsiteX11" fmla="*/ 914400 w 1013460"/>
                <a:gd name="connsiteY11" fmla="*/ 0 h 815340"/>
                <a:gd name="connsiteX12" fmla="*/ 845820 w 1013460"/>
                <a:gd name="connsiteY12" fmla="*/ 91440 h 815340"/>
                <a:gd name="connsiteX13" fmla="*/ 883920 w 1013460"/>
                <a:gd name="connsiteY13" fmla="*/ 182880 h 815340"/>
                <a:gd name="connsiteX14" fmla="*/ 967740 w 1013460"/>
                <a:gd name="connsiteY14" fmla="*/ 213360 h 815340"/>
                <a:gd name="connsiteX15" fmla="*/ 876300 w 1013460"/>
                <a:gd name="connsiteY15" fmla="*/ 266700 h 815340"/>
                <a:gd name="connsiteX16" fmla="*/ 899160 w 1013460"/>
                <a:gd name="connsiteY16" fmla="*/ 297180 h 815340"/>
                <a:gd name="connsiteX17" fmla="*/ 1013460 w 1013460"/>
                <a:gd name="connsiteY17" fmla="*/ 289560 h 815340"/>
                <a:gd name="connsiteX18" fmla="*/ 906780 w 1013460"/>
                <a:gd name="connsiteY18" fmla="*/ 426720 h 815340"/>
                <a:gd name="connsiteX19" fmla="*/ 746760 w 1013460"/>
                <a:gd name="connsiteY19" fmla="*/ 563880 h 815340"/>
                <a:gd name="connsiteX20" fmla="*/ 518160 w 1013460"/>
                <a:gd name="connsiteY20" fmla="*/ 685800 h 815340"/>
                <a:gd name="connsiteX21" fmla="*/ 548640 w 1013460"/>
                <a:gd name="connsiteY21" fmla="*/ 800100 h 815340"/>
                <a:gd name="connsiteX22" fmla="*/ 487680 w 1013460"/>
                <a:gd name="connsiteY22" fmla="*/ 815340 h 815340"/>
                <a:gd name="connsiteX23" fmla="*/ 419100 w 1013460"/>
                <a:gd name="connsiteY23" fmla="*/ 739140 h 815340"/>
                <a:gd name="connsiteX24" fmla="*/ 121920 w 1013460"/>
                <a:gd name="connsiteY24" fmla="*/ 701040 h 815340"/>
                <a:gd name="connsiteX25" fmla="*/ 99060 w 1013460"/>
                <a:gd name="connsiteY25" fmla="*/ 426720 h 815340"/>
                <a:gd name="connsiteX26" fmla="*/ 38100 w 1013460"/>
                <a:gd name="connsiteY26" fmla="*/ 358140 h 815340"/>
                <a:gd name="connsiteX27" fmla="*/ 0 w 1013460"/>
                <a:gd name="connsiteY27" fmla="*/ 274320 h 815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013460" h="815340">
                  <a:moveTo>
                    <a:pt x="0" y="274320"/>
                  </a:moveTo>
                  <a:lnTo>
                    <a:pt x="76200" y="228600"/>
                  </a:lnTo>
                  <a:lnTo>
                    <a:pt x="83820" y="175260"/>
                  </a:lnTo>
                  <a:lnTo>
                    <a:pt x="198120" y="228600"/>
                  </a:lnTo>
                  <a:lnTo>
                    <a:pt x="251460" y="144780"/>
                  </a:lnTo>
                  <a:lnTo>
                    <a:pt x="335280" y="175260"/>
                  </a:lnTo>
                  <a:lnTo>
                    <a:pt x="381000" y="137160"/>
                  </a:lnTo>
                  <a:lnTo>
                    <a:pt x="594360" y="320040"/>
                  </a:lnTo>
                  <a:lnTo>
                    <a:pt x="678180" y="228600"/>
                  </a:lnTo>
                  <a:lnTo>
                    <a:pt x="731520" y="38100"/>
                  </a:lnTo>
                  <a:lnTo>
                    <a:pt x="800100" y="76200"/>
                  </a:lnTo>
                  <a:lnTo>
                    <a:pt x="914400" y="0"/>
                  </a:lnTo>
                  <a:lnTo>
                    <a:pt x="845820" y="91440"/>
                  </a:lnTo>
                  <a:lnTo>
                    <a:pt x="883920" y="182880"/>
                  </a:lnTo>
                  <a:lnTo>
                    <a:pt x="967740" y="213360"/>
                  </a:lnTo>
                  <a:lnTo>
                    <a:pt x="876300" y="266700"/>
                  </a:lnTo>
                  <a:lnTo>
                    <a:pt x="899160" y="297180"/>
                  </a:lnTo>
                  <a:lnTo>
                    <a:pt x="1013460" y="289560"/>
                  </a:lnTo>
                  <a:lnTo>
                    <a:pt x="906780" y="426720"/>
                  </a:lnTo>
                  <a:lnTo>
                    <a:pt x="746760" y="563880"/>
                  </a:lnTo>
                  <a:lnTo>
                    <a:pt x="518160" y="685800"/>
                  </a:lnTo>
                  <a:lnTo>
                    <a:pt x="548640" y="800100"/>
                  </a:lnTo>
                  <a:lnTo>
                    <a:pt x="487680" y="815340"/>
                  </a:lnTo>
                  <a:lnTo>
                    <a:pt x="419100" y="739140"/>
                  </a:lnTo>
                  <a:lnTo>
                    <a:pt x="121920" y="701040"/>
                  </a:lnTo>
                  <a:lnTo>
                    <a:pt x="99060" y="426720"/>
                  </a:lnTo>
                  <a:lnTo>
                    <a:pt x="38100" y="358140"/>
                  </a:lnTo>
                  <a:lnTo>
                    <a:pt x="0" y="27432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9" name="Freeform 158"/>
            <p:cNvSpPr/>
            <p:nvPr/>
          </p:nvSpPr>
          <p:spPr>
            <a:xfrm>
              <a:off x="5272896" y="2888938"/>
              <a:ext cx="664719" cy="483891"/>
            </a:xfrm>
            <a:custGeom>
              <a:avLst/>
              <a:gdLst>
                <a:gd name="connsiteX0" fmla="*/ 1363980 w 1363980"/>
                <a:gd name="connsiteY0" fmla="*/ 45720 h 1143000"/>
                <a:gd name="connsiteX1" fmla="*/ 1287780 w 1363980"/>
                <a:gd name="connsiteY1" fmla="*/ 137160 h 1143000"/>
                <a:gd name="connsiteX2" fmla="*/ 1242060 w 1363980"/>
                <a:gd name="connsiteY2" fmla="*/ 320040 h 1143000"/>
                <a:gd name="connsiteX3" fmla="*/ 1257300 w 1363980"/>
                <a:gd name="connsiteY3" fmla="*/ 495300 h 1143000"/>
                <a:gd name="connsiteX4" fmla="*/ 1257300 w 1363980"/>
                <a:gd name="connsiteY4" fmla="*/ 594360 h 1143000"/>
                <a:gd name="connsiteX5" fmla="*/ 1158240 w 1363980"/>
                <a:gd name="connsiteY5" fmla="*/ 594360 h 1143000"/>
                <a:gd name="connsiteX6" fmla="*/ 1143000 w 1363980"/>
                <a:gd name="connsiteY6" fmla="*/ 548640 h 1143000"/>
                <a:gd name="connsiteX7" fmla="*/ 1028700 w 1363980"/>
                <a:gd name="connsiteY7" fmla="*/ 662940 h 1143000"/>
                <a:gd name="connsiteX8" fmla="*/ 952500 w 1363980"/>
                <a:gd name="connsiteY8" fmla="*/ 701040 h 1143000"/>
                <a:gd name="connsiteX9" fmla="*/ 868680 w 1363980"/>
                <a:gd name="connsiteY9" fmla="*/ 716280 h 1143000"/>
                <a:gd name="connsiteX10" fmla="*/ 762000 w 1363980"/>
                <a:gd name="connsiteY10" fmla="*/ 716280 h 1143000"/>
                <a:gd name="connsiteX11" fmla="*/ 548640 w 1363980"/>
                <a:gd name="connsiteY11" fmla="*/ 701040 h 1143000"/>
                <a:gd name="connsiteX12" fmla="*/ 434340 w 1363980"/>
                <a:gd name="connsiteY12" fmla="*/ 640080 h 1143000"/>
                <a:gd name="connsiteX13" fmla="*/ 403860 w 1363980"/>
                <a:gd name="connsiteY13" fmla="*/ 678180 h 1143000"/>
                <a:gd name="connsiteX14" fmla="*/ 449580 w 1363980"/>
                <a:gd name="connsiteY14" fmla="*/ 769620 h 1143000"/>
                <a:gd name="connsiteX15" fmla="*/ 403860 w 1363980"/>
                <a:gd name="connsiteY15" fmla="*/ 868680 h 1143000"/>
                <a:gd name="connsiteX16" fmla="*/ 304800 w 1363980"/>
                <a:gd name="connsiteY16" fmla="*/ 1043940 h 1143000"/>
                <a:gd name="connsiteX17" fmla="*/ 320040 w 1363980"/>
                <a:gd name="connsiteY17" fmla="*/ 1120140 h 1143000"/>
                <a:gd name="connsiteX18" fmla="*/ 243840 w 1363980"/>
                <a:gd name="connsiteY18" fmla="*/ 1089660 h 1143000"/>
                <a:gd name="connsiteX19" fmla="*/ 175260 w 1363980"/>
                <a:gd name="connsiteY19" fmla="*/ 1143000 h 1143000"/>
                <a:gd name="connsiteX20" fmla="*/ 121920 w 1363980"/>
                <a:gd name="connsiteY20" fmla="*/ 1059180 h 1143000"/>
                <a:gd name="connsiteX21" fmla="*/ 160020 w 1363980"/>
                <a:gd name="connsiteY21" fmla="*/ 982980 h 1143000"/>
                <a:gd name="connsiteX22" fmla="*/ 83820 w 1363980"/>
                <a:gd name="connsiteY22" fmla="*/ 944880 h 1143000"/>
                <a:gd name="connsiteX23" fmla="*/ 83820 w 1363980"/>
                <a:gd name="connsiteY23" fmla="*/ 792480 h 1143000"/>
                <a:gd name="connsiteX24" fmla="*/ 60960 w 1363980"/>
                <a:gd name="connsiteY24" fmla="*/ 784860 h 1143000"/>
                <a:gd name="connsiteX25" fmla="*/ 91440 w 1363980"/>
                <a:gd name="connsiteY25" fmla="*/ 693420 h 1143000"/>
                <a:gd name="connsiteX26" fmla="*/ 45720 w 1363980"/>
                <a:gd name="connsiteY26" fmla="*/ 624840 h 1143000"/>
                <a:gd name="connsiteX27" fmla="*/ 60960 w 1363980"/>
                <a:gd name="connsiteY27" fmla="*/ 480060 h 1143000"/>
                <a:gd name="connsiteX28" fmla="*/ 99060 w 1363980"/>
                <a:gd name="connsiteY28" fmla="*/ 457200 h 1143000"/>
                <a:gd name="connsiteX29" fmla="*/ 0 w 1363980"/>
                <a:gd name="connsiteY29" fmla="*/ 281940 h 1143000"/>
                <a:gd name="connsiteX30" fmla="*/ 83820 w 1363980"/>
                <a:gd name="connsiteY30" fmla="*/ 259080 h 1143000"/>
                <a:gd name="connsiteX31" fmla="*/ 236220 w 1363980"/>
                <a:gd name="connsiteY31" fmla="*/ 220980 h 1143000"/>
                <a:gd name="connsiteX32" fmla="*/ 480060 w 1363980"/>
                <a:gd name="connsiteY32" fmla="*/ 198120 h 1143000"/>
                <a:gd name="connsiteX33" fmla="*/ 556260 w 1363980"/>
                <a:gd name="connsiteY33" fmla="*/ 220980 h 1143000"/>
                <a:gd name="connsiteX34" fmla="*/ 815340 w 1363980"/>
                <a:gd name="connsiteY34" fmla="*/ 205740 h 1143000"/>
                <a:gd name="connsiteX35" fmla="*/ 868680 w 1363980"/>
                <a:gd name="connsiteY35" fmla="*/ 220980 h 1143000"/>
                <a:gd name="connsiteX36" fmla="*/ 922020 w 1363980"/>
                <a:gd name="connsiteY36" fmla="*/ 190500 h 1143000"/>
                <a:gd name="connsiteX37" fmla="*/ 944880 w 1363980"/>
                <a:gd name="connsiteY37" fmla="*/ 99060 h 1143000"/>
                <a:gd name="connsiteX38" fmla="*/ 1066800 w 1363980"/>
                <a:gd name="connsiteY38" fmla="*/ 68580 h 1143000"/>
                <a:gd name="connsiteX39" fmla="*/ 1074420 w 1363980"/>
                <a:gd name="connsiteY39" fmla="*/ 0 h 1143000"/>
                <a:gd name="connsiteX40" fmla="*/ 1363980 w 1363980"/>
                <a:gd name="connsiteY40" fmla="*/ 4572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363980" h="1143000">
                  <a:moveTo>
                    <a:pt x="1363980" y="45720"/>
                  </a:moveTo>
                  <a:lnTo>
                    <a:pt x="1287780" y="137160"/>
                  </a:lnTo>
                  <a:lnTo>
                    <a:pt x="1242060" y="320040"/>
                  </a:lnTo>
                  <a:lnTo>
                    <a:pt x="1257300" y="495300"/>
                  </a:lnTo>
                  <a:lnTo>
                    <a:pt x="1257300" y="594360"/>
                  </a:lnTo>
                  <a:lnTo>
                    <a:pt x="1158240" y="594360"/>
                  </a:lnTo>
                  <a:lnTo>
                    <a:pt x="1143000" y="548640"/>
                  </a:lnTo>
                  <a:lnTo>
                    <a:pt x="1028700" y="662940"/>
                  </a:lnTo>
                  <a:lnTo>
                    <a:pt x="952500" y="701040"/>
                  </a:lnTo>
                  <a:lnTo>
                    <a:pt x="868680" y="716280"/>
                  </a:lnTo>
                  <a:lnTo>
                    <a:pt x="762000" y="716280"/>
                  </a:lnTo>
                  <a:lnTo>
                    <a:pt x="548640" y="701040"/>
                  </a:lnTo>
                  <a:lnTo>
                    <a:pt x="434340" y="640080"/>
                  </a:lnTo>
                  <a:lnTo>
                    <a:pt x="403860" y="678180"/>
                  </a:lnTo>
                  <a:lnTo>
                    <a:pt x="449580" y="769620"/>
                  </a:lnTo>
                  <a:lnTo>
                    <a:pt x="403860" y="868680"/>
                  </a:lnTo>
                  <a:lnTo>
                    <a:pt x="304800" y="1043940"/>
                  </a:lnTo>
                  <a:lnTo>
                    <a:pt x="320040" y="1120140"/>
                  </a:lnTo>
                  <a:lnTo>
                    <a:pt x="243840" y="1089660"/>
                  </a:lnTo>
                  <a:lnTo>
                    <a:pt x="175260" y="1143000"/>
                  </a:lnTo>
                  <a:lnTo>
                    <a:pt x="121920" y="1059180"/>
                  </a:lnTo>
                  <a:lnTo>
                    <a:pt x="160020" y="982980"/>
                  </a:lnTo>
                  <a:lnTo>
                    <a:pt x="83820" y="944880"/>
                  </a:lnTo>
                  <a:lnTo>
                    <a:pt x="83820" y="792480"/>
                  </a:lnTo>
                  <a:lnTo>
                    <a:pt x="60960" y="784860"/>
                  </a:lnTo>
                  <a:lnTo>
                    <a:pt x="91440" y="693420"/>
                  </a:lnTo>
                  <a:lnTo>
                    <a:pt x="45720" y="624840"/>
                  </a:lnTo>
                  <a:lnTo>
                    <a:pt x="60960" y="480060"/>
                  </a:lnTo>
                  <a:lnTo>
                    <a:pt x="99060" y="457200"/>
                  </a:lnTo>
                  <a:lnTo>
                    <a:pt x="0" y="281940"/>
                  </a:lnTo>
                  <a:lnTo>
                    <a:pt x="83820" y="259080"/>
                  </a:lnTo>
                  <a:lnTo>
                    <a:pt x="236220" y="220980"/>
                  </a:lnTo>
                  <a:lnTo>
                    <a:pt x="480060" y="198120"/>
                  </a:lnTo>
                  <a:lnTo>
                    <a:pt x="556260" y="220980"/>
                  </a:lnTo>
                  <a:lnTo>
                    <a:pt x="815340" y="205740"/>
                  </a:lnTo>
                  <a:lnTo>
                    <a:pt x="868680" y="220980"/>
                  </a:lnTo>
                  <a:lnTo>
                    <a:pt x="922020" y="190500"/>
                  </a:lnTo>
                  <a:lnTo>
                    <a:pt x="944880" y="99060"/>
                  </a:lnTo>
                  <a:lnTo>
                    <a:pt x="1066800" y="68580"/>
                  </a:lnTo>
                  <a:lnTo>
                    <a:pt x="1074420" y="0"/>
                  </a:lnTo>
                  <a:lnTo>
                    <a:pt x="1363980" y="4572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0" name="Freeform 159"/>
            <p:cNvSpPr/>
            <p:nvPr/>
          </p:nvSpPr>
          <p:spPr>
            <a:xfrm>
              <a:off x="3267602" y="3101851"/>
              <a:ext cx="441907" cy="400016"/>
            </a:xfrm>
            <a:custGeom>
              <a:avLst/>
              <a:gdLst>
                <a:gd name="connsiteX0" fmla="*/ 502920 w 906780"/>
                <a:gd name="connsiteY0" fmla="*/ 22860 h 944880"/>
                <a:gd name="connsiteX1" fmla="*/ 396240 w 906780"/>
                <a:gd name="connsiteY1" fmla="*/ 114300 h 944880"/>
                <a:gd name="connsiteX2" fmla="*/ 228600 w 906780"/>
                <a:gd name="connsiteY2" fmla="*/ 60960 h 944880"/>
                <a:gd name="connsiteX3" fmla="*/ 167640 w 906780"/>
                <a:gd name="connsiteY3" fmla="*/ 121920 h 944880"/>
                <a:gd name="connsiteX4" fmla="*/ 175260 w 906780"/>
                <a:gd name="connsiteY4" fmla="*/ 373380 h 944880"/>
                <a:gd name="connsiteX5" fmla="*/ 114300 w 906780"/>
                <a:gd name="connsiteY5" fmla="*/ 502920 h 944880"/>
                <a:gd name="connsiteX6" fmla="*/ 38100 w 906780"/>
                <a:gd name="connsiteY6" fmla="*/ 518160 h 944880"/>
                <a:gd name="connsiteX7" fmla="*/ 0 w 906780"/>
                <a:gd name="connsiteY7" fmla="*/ 624840 h 944880"/>
                <a:gd name="connsiteX8" fmla="*/ 0 w 906780"/>
                <a:gd name="connsiteY8" fmla="*/ 624840 h 944880"/>
                <a:gd name="connsiteX9" fmla="*/ 106680 w 906780"/>
                <a:gd name="connsiteY9" fmla="*/ 708660 h 944880"/>
                <a:gd name="connsiteX10" fmla="*/ 129540 w 906780"/>
                <a:gd name="connsiteY10" fmla="*/ 868680 h 944880"/>
                <a:gd name="connsiteX11" fmla="*/ 297180 w 906780"/>
                <a:gd name="connsiteY11" fmla="*/ 944880 h 944880"/>
                <a:gd name="connsiteX12" fmla="*/ 556260 w 906780"/>
                <a:gd name="connsiteY12" fmla="*/ 845820 h 944880"/>
                <a:gd name="connsiteX13" fmla="*/ 678180 w 906780"/>
                <a:gd name="connsiteY13" fmla="*/ 746760 h 944880"/>
                <a:gd name="connsiteX14" fmla="*/ 746760 w 906780"/>
                <a:gd name="connsiteY14" fmla="*/ 678180 h 944880"/>
                <a:gd name="connsiteX15" fmla="*/ 792480 w 906780"/>
                <a:gd name="connsiteY15" fmla="*/ 525780 h 944880"/>
                <a:gd name="connsiteX16" fmla="*/ 792480 w 906780"/>
                <a:gd name="connsiteY16" fmla="*/ 426720 h 944880"/>
                <a:gd name="connsiteX17" fmla="*/ 876300 w 906780"/>
                <a:gd name="connsiteY17" fmla="*/ 243840 h 944880"/>
                <a:gd name="connsiteX18" fmla="*/ 906780 w 906780"/>
                <a:gd name="connsiteY18" fmla="*/ 129540 h 944880"/>
                <a:gd name="connsiteX19" fmla="*/ 716280 w 906780"/>
                <a:gd name="connsiteY19" fmla="*/ 0 h 944880"/>
                <a:gd name="connsiteX20" fmla="*/ 662940 w 906780"/>
                <a:gd name="connsiteY20" fmla="*/ 30480 h 944880"/>
                <a:gd name="connsiteX21" fmla="*/ 502920 w 906780"/>
                <a:gd name="connsiteY21" fmla="*/ 22860 h 94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06780" h="944880">
                  <a:moveTo>
                    <a:pt x="502920" y="22860"/>
                  </a:moveTo>
                  <a:lnTo>
                    <a:pt x="396240" y="114300"/>
                  </a:lnTo>
                  <a:lnTo>
                    <a:pt x="228600" y="60960"/>
                  </a:lnTo>
                  <a:lnTo>
                    <a:pt x="167640" y="121920"/>
                  </a:lnTo>
                  <a:lnTo>
                    <a:pt x="175260" y="373380"/>
                  </a:lnTo>
                  <a:lnTo>
                    <a:pt x="114300" y="502920"/>
                  </a:lnTo>
                  <a:lnTo>
                    <a:pt x="38100" y="518160"/>
                  </a:lnTo>
                  <a:lnTo>
                    <a:pt x="0" y="624840"/>
                  </a:lnTo>
                  <a:lnTo>
                    <a:pt x="0" y="624840"/>
                  </a:lnTo>
                  <a:lnTo>
                    <a:pt x="106680" y="708660"/>
                  </a:lnTo>
                  <a:lnTo>
                    <a:pt x="129540" y="868680"/>
                  </a:lnTo>
                  <a:lnTo>
                    <a:pt x="297180" y="944880"/>
                  </a:lnTo>
                  <a:lnTo>
                    <a:pt x="556260" y="845820"/>
                  </a:lnTo>
                  <a:lnTo>
                    <a:pt x="678180" y="746760"/>
                  </a:lnTo>
                  <a:lnTo>
                    <a:pt x="746760" y="678180"/>
                  </a:lnTo>
                  <a:lnTo>
                    <a:pt x="792480" y="525780"/>
                  </a:lnTo>
                  <a:lnTo>
                    <a:pt x="792480" y="426720"/>
                  </a:lnTo>
                  <a:lnTo>
                    <a:pt x="876300" y="243840"/>
                  </a:lnTo>
                  <a:lnTo>
                    <a:pt x="906780" y="129540"/>
                  </a:lnTo>
                  <a:lnTo>
                    <a:pt x="716280" y="0"/>
                  </a:lnTo>
                  <a:lnTo>
                    <a:pt x="662940" y="30480"/>
                  </a:lnTo>
                  <a:lnTo>
                    <a:pt x="502920" y="2286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1" name="Freeform 160"/>
            <p:cNvSpPr/>
            <p:nvPr/>
          </p:nvSpPr>
          <p:spPr>
            <a:xfrm>
              <a:off x="2925955" y="3095401"/>
              <a:ext cx="460475" cy="329048"/>
            </a:xfrm>
            <a:custGeom>
              <a:avLst/>
              <a:gdLst>
                <a:gd name="connsiteX0" fmla="*/ 944880 w 944880"/>
                <a:gd name="connsiteY0" fmla="*/ 60960 h 777240"/>
                <a:gd name="connsiteX1" fmla="*/ 861060 w 944880"/>
                <a:gd name="connsiteY1" fmla="*/ 0 h 777240"/>
                <a:gd name="connsiteX2" fmla="*/ 807720 w 944880"/>
                <a:gd name="connsiteY2" fmla="*/ 38100 h 777240"/>
                <a:gd name="connsiteX3" fmla="*/ 807720 w 944880"/>
                <a:gd name="connsiteY3" fmla="*/ 91440 h 777240"/>
                <a:gd name="connsiteX4" fmla="*/ 731520 w 944880"/>
                <a:gd name="connsiteY4" fmla="*/ 152400 h 777240"/>
                <a:gd name="connsiteX5" fmla="*/ 655320 w 944880"/>
                <a:gd name="connsiteY5" fmla="*/ 114300 h 777240"/>
                <a:gd name="connsiteX6" fmla="*/ 624840 w 944880"/>
                <a:gd name="connsiteY6" fmla="*/ 38100 h 777240"/>
                <a:gd name="connsiteX7" fmla="*/ 571500 w 944880"/>
                <a:gd name="connsiteY7" fmla="*/ 38100 h 777240"/>
                <a:gd name="connsiteX8" fmla="*/ 571500 w 944880"/>
                <a:gd name="connsiteY8" fmla="*/ 38100 h 777240"/>
                <a:gd name="connsiteX9" fmla="*/ 457200 w 944880"/>
                <a:gd name="connsiteY9" fmla="*/ 53340 h 777240"/>
                <a:gd name="connsiteX10" fmla="*/ 457200 w 944880"/>
                <a:gd name="connsiteY10" fmla="*/ 175260 h 777240"/>
                <a:gd name="connsiteX11" fmla="*/ 335280 w 944880"/>
                <a:gd name="connsiteY11" fmla="*/ 220980 h 777240"/>
                <a:gd name="connsiteX12" fmla="*/ 121920 w 944880"/>
                <a:gd name="connsiteY12" fmla="*/ 365760 h 777240"/>
                <a:gd name="connsiteX13" fmla="*/ 0 w 944880"/>
                <a:gd name="connsiteY13" fmla="*/ 548640 h 777240"/>
                <a:gd name="connsiteX14" fmla="*/ 175260 w 944880"/>
                <a:gd name="connsiteY14" fmla="*/ 708660 h 777240"/>
                <a:gd name="connsiteX15" fmla="*/ 320040 w 944880"/>
                <a:gd name="connsiteY15" fmla="*/ 777240 h 777240"/>
                <a:gd name="connsiteX16" fmla="*/ 388620 w 944880"/>
                <a:gd name="connsiteY16" fmla="*/ 716280 h 777240"/>
                <a:gd name="connsiteX17" fmla="*/ 411480 w 944880"/>
                <a:gd name="connsiteY17" fmla="*/ 601980 h 777240"/>
                <a:gd name="connsiteX18" fmla="*/ 571500 w 944880"/>
                <a:gd name="connsiteY18" fmla="*/ 586740 h 777240"/>
                <a:gd name="connsiteX19" fmla="*/ 708660 w 944880"/>
                <a:gd name="connsiteY19" fmla="*/ 632460 h 777240"/>
                <a:gd name="connsiteX20" fmla="*/ 731520 w 944880"/>
                <a:gd name="connsiteY20" fmla="*/ 533400 h 777240"/>
                <a:gd name="connsiteX21" fmla="*/ 822960 w 944880"/>
                <a:gd name="connsiteY21" fmla="*/ 495300 h 777240"/>
                <a:gd name="connsiteX22" fmla="*/ 876300 w 944880"/>
                <a:gd name="connsiteY22" fmla="*/ 411480 h 777240"/>
                <a:gd name="connsiteX23" fmla="*/ 861060 w 944880"/>
                <a:gd name="connsiteY23" fmla="*/ 152400 h 777240"/>
                <a:gd name="connsiteX24" fmla="*/ 944880 w 944880"/>
                <a:gd name="connsiteY24" fmla="*/ 60960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44880" h="777240">
                  <a:moveTo>
                    <a:pt x="944880" y="60960"/>
                  </a:moveTo>
                  <a:lnTo>
                    <a:pt x="861060" y="0"/>
                  </a:lnTo>
                  <a:lnTo>
                    <a:pt x="807720" y="38100"/>
                  </a:lnTo>
                  <a:lnTo>
                    <a:pt x="807720" y="91440"/>
                  </a:lnTo>
                  <a:lnTo>
                    <a:pt x="731520" y="152400"/>
                  </a:lnTo>
                  <a:lnTo>
                    <a:pt x="655320" y="114300"/>
                  </a:lnTo>
                  <a:lnTo>
                    <a:pt x="624840" y="38100"/>
                  </a:lnTo>
                  <a:lnTo>
                    <a:pt x="571500" y="38100"/>
                  </a:lnTo>
                  <a:lnTo>
                    <a:pt x="571500" y="38100"/>
                  </a:lnTo>
                  <a:lnTo>
                    <a:pt x="457200" y="53340"/>
                  </a:lnTo>
                  <a:lnTo>
                    <a:pt x="457200" y="175260"/>
                  </a:lnTo>
                  <a:lnTo>
                    <a:pt x="335280" y="220980"/>
                  </a:lnTo>
                  <a:lnTo>
                    <a:pt x="121920" y="365760"/>
                  </a:lnTo>
                  <a:lnTo>
                    <a:pt x="0" y="548640"/>
                  </a:lnTo>
                  <a:lnTo>
                    <a:pt x="175260" y="708660"/>
                  </a:lnTo>
                  <a:lnTo>
                    <a:pt x="320040" y="777240"/>
                  </a:lnTo>
                  <a:lnTo>
                    <a:pt x="388620" y="716280"/>
                  </a:lnTo>
                  <a:lnTo>
                    <a:pt x="411480" y="601980"/>
                  </a:lnTo>
                  <a:lnTo>
                    <a:pt x="571500" y="586740"/>
                  </a:lnTo>
                  <a:lnTo>
                    <a:pt x="708660" y="632460"/>
                  </a:lnTo>
                  <a:lnTo>
                    <a:pt x="731520" y="533400"/>
                  </a:lnTo>
                  <a:lnTo>
                    <a:pt x="822960" y="495300"/>
                  </a:lnTo>
                  <a:lnTo>
                    <a:pt x="876300" y="411480"/>
                  </a:lnTo>
                  <a:lnTo>
                    <a:pt x="861060" y="152400"/>
                  </a:lnTo>
                  <a:lnTo>
                    <a:pt x="944880" y="6096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2" name="Freeform 161"/>
            <p:cNvSpPr/>
            <p:nvPr/>
          </p:nvSpPr>
          <p:spPr>
            <a:xfrm>
              <a:off x="2576886" y="3321217"/>
              <a:ext cx="423342" cy="580670"/>
            </a:xfrm>
            <a:custGeom>
              <a:avLst/>
              <a:gdLst>
                <a:gd name="connsiteX0" fmla="*/ 678180 w 868680"/>
                <a:gd name="connsiteY0" fmla="*/ 15240 h 1371600"/>
                <a:gd name="connsiteX1" fmla="*/ 617220 w 868680"/>
                <a:gd name="connsiteY1" fmla="*/ 0 h 1371600"/>
                <a:gd name="connsiteX2" fmla="*/ 449580 w 868680"/>
                <a:gd name="connsiteY2" fmla="*/ 129540 h 1371600"/>
                <a:gd name="connsiteX3" fmla="*/ 304800 w 868680"/>
                <a:gd name="connsiteY3" fmla="*/ 182880 h 1371600"/>
                <a:gd name="connsiteX4" fmla="*/ 190500 w 868680"/>
                <a:gd name="connsiteY4" fmla="*/ 228600 h 1371600"/>
                <a:gd name="connsiteX5" fmla="*/ 60960 w 868680"/>
                <a:gd name="connsiteY5" fmla="*/ 335280 h 1371600"/>
                <a:gd name="connsiteX6" fmla="*/ 91440 w 868680"/>
                <a:gd name="connsiteY6" fmla="*/ 426720 h 1371600"/>
                <a:gd name="connsiteX7" fmla="*/ 0 w 868680"/>
                <a:gd name="connsiteY7" fmla="*/ 609600 h 1371600"/>
                <a:gd name="connsiteX8" fmla="*/ 45720 w 868680"/>
                <a:gd name="connsiteY8" fmla="*/ 647700 h 1371600"/>
                <a:gd name="connsiteX9" fmla="*/ 53340 w 868680"/>
                <a:gd name="connsiteY9" fmla="*/ 739140 h 1371600"/>
                <a:gd name="connsiteX10" fmla="*/ 91440 w 868680"/>
                <a:gd name="connsiteY10" fmla="*/ 769620 h 1371600"/>
                <a:gd name="connsiteX11" fmla="*/ 76200 w 868680"/>
                <a:gd name="connsiteY11" fmla="*/ 876300 h 1371600"/>
                <a:gd name="connsiteX12" fmla="*/ 152400 w 868680"/>
                <a:gd name="connsiteY12" fmla="*/ 952500 h 1371600"/>
                <a:gd name="connsiteX13" fmla="*/ 114300 w 868680"/>
                <a:gd name="connsiteY13" fmla="*/ 1051560 h 1371600"/>
                <a:gd name="connsiteX14" fmla="*/ 236220 w 868680"/>
                <a:gd name="connsiteY14" fmla="*/ 1112520 h 1371600"/>
                <a:gd name="connsiteX15" fmla="*/ 281940 w 868680"/>
                <a:gd name="connsiteY15" fmla="*/ 1196340 h 1371600"/>
                <a:gd name="connsiteX16" fmla="*/ 281940 w 868680"/>
                <a:gd name="connsiteY16" fmla="*/ 1226820 h 1371600"/>
                <a:gd name="connsiteX17" fmla="*/ 327660 w 868680"/>
                <a:gd name="connsiteY17" fmla="*/ 1333500 h 1371600"/>
                <a:gd name="connsiteX18" fmla="*/ 617220 w 868680"/>
                <a:gd name="connsiteY18" fmla="*/ 1371600 h 1371600"/>
                <a:gd name="connsiteX19" fmla="*/ 678180 w 868680"/>
                <a:gd name="connsiteY19" fmla="*/ 1158240 h 1371600"/>
                <a:gd name="connsiteX20" fmla="*/ 617220 w 868680"/>
                <a:gd name="connsiteY20" fmla="*/ 1082040 h 1371600"/>
                <a:gd name="connsiteX21" fmla="*/ 655320 w 868680"/>
                <a:gd name="connsiteY21" fmla="*/ 1005840 h 1371600"/>
                <a:gd name="connsiteX22" fmla="*/ 670560 w 868680"/>
                <a:gd name="connsiteY22" fmla="*/ 868680 h 1371600"/>
                <a:gd name="connsiteX23" fmla="*/ 784860 w 868680"/>
                <a:gd name="connsiteY23" fmla="*/ 617220 h 1371600"/>
                <a:gd name="connsiteX24" fmla="*/ 815340 w 868680"/>
                <a:gd name="connsiteY24" fmla="*/ 457200 h 1371600"/>
                <a:gd name="connsiteX25" fmla="*/ 815340 w 868680"/>
                <a:gd name="connsiteY25" fmla="*/ 358140 h 1371600"/>
                <a:gd name="connsiteX26" fmla="*/ 868680 w 868680"/>
                <a:gd name="connsiteY26" fmla="*/ 190500 h 1371600"/>
                <a:gd name="connsiteX27" fmla="*/ 678180 w 868680"/>
                <a:gd name="connsiteY27" fmla="*/ 1524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68680" h="1371600">
                  <a:moveTo>
                    <a:pt x="678180" y="15240"/>
                  </a:moveTo>
                  <a:lnTo>
                    <a:pt x="617220" y="0"/>
                  </a:lnTo>
                  <a:lnTo>
                    <a:pt x="449580" y="129540"/>
                  </a:lnTo>
                  <a:lnTo>
                    <a:pt x="304800" y="182880"/>
                  </a:lnTo>
                  <a:lnTo>
                    <a:pt x="190500" y="228600"/>
                  </a:lnTo>
                  <a:lnTo>
                    <a:pt x="60960" y="335280"/>
                  </a:lnTo>
                  <a:lnTo>
                    <a:pt x="91440" y="426720"/>
                  </a:lnTo>
                  <a:lnTo>
                    <a:pt x="0" y="609600"/>
                  </a:lnTo>
                  <a:lnTo>
                    <a:pt x="45720" y="647700"/>
                  </a:lnTo>
                  <a:lnTo>
                    <a:pt x="53340" y="739140"/>
                  </a:lnTo>
                  <a:lnTo>
                    <a:pt x="91440" y="769620"/>
                  </a:lnTo>
                  <a:lnTo>
                    <a:pt x="76200" y="876300"/>
                  </a:lnTo>
                  <a:lnTo>
                    <a:pt x="152400" y="952500"/>
                  </a:lnTo>
                  <a:lnTo>
                    <a:pt x="114300" y="1051560"/>
                  </a:lnTo>
                  <a:lnTo>
                    <a:pt x="236220" y="1112520"/>
                  </a:lnTo>
                  <a:lnTo>
                    <a:pt x="281940" y="1196340"/>
                  </a:lnTo>
                  <a:lnTo>
                    <a:pt x="281940" y="1226820"/>
                  </a:lnTo>
                  <a:lnTo>
                    <a:pt x="327660" y="1333500"/>
                  </a:lnTo>
                  <a:lnTo>
                    <a:pt x="617220" y="1371600"/>
                  </a:lnTo>
                  <a:lnTo>
                    <a:pt x="678180" y="1158240"/>
                  </a:lnTo>
                  <a:lnTo>
                    <a:pt x="617220" y="1082040"/>
                  </a:lnTo>
                  <a:lnTo>
                    <a:pt x="655320" y="1005840"/>
                  </a:lnTo>
                  <a:lnTo>
                    <a:pt x="670560" y="868680"/>
                  </a:lnTo>
                  <a:lnTo>
                    <a:pt x="784860" y="617220"/>
                  </a:lnTo>
                  <a:lnTo>
                    <a:pt x="815340" y="457200"/>
                  </a:lnTo>
                  <a:lnTo>
                    <a:pt x="815340" y="358140"/>
                  </a:lnTo>
                  <a:lnTo>
                    <a:pt x="868680" y="190500"/>
                  </a:lnTo>
                  <a:lnTo>
                    <a:pt x="678180" y="1524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3" name="Freeform 162"/>
            <p:cNvSpPr/>
            <p:nvPr/>
          </p:nvSpPr>
          <p:spPr>
            <a:xfrm>
              <a:off x="2710571" y="3343797"/>
              <a:ext cx="698142" cy="612929"/>
            </a:xfrm>
            <a:custGeom>
              <a:avLst/>
              <a:gdLst>
                <a:gd name="connsiteX0" fmla="*/ 53340 w 1432560"/>
                <a:gd name="connsiteY0" fmla="*/ 1287780 h 1447800"/>
                <a:gd name="connsiteX1" fmla="*/ 0 w 1432560"/>
                <a:gd name="connsiteY1" fmla="*/ 1394460 h 1447800"/>
                <a:gd name="connsiteX2" fmla="*/ 243840 w 1432560"/>
                <a:gd name="connsiteY2" fmla="*/ 1417320 h 1447800"/>
                <a:gd name="connsiteX3" fmla="*/ 335280 w 1432560"/>
                <a:gd name="connsiteY3" fmla="*/ 1447800 h 1447800"/>
                <a:gd name="connsiteX4" fmla="*/ 640080 w 1432560"/>
                <a:gd name="connsiteY4" fmla="*/ 1371600 h 1447800"/>
                <a:gd name="connsiteX5" fmla="*/ 723900 w 1432560"/>
                <a:gd name="connsiteY5" fmla="*/ 1219200 h 1447800"/>
                <a:gd name="connsiteX6" fmla="*/ 952500 w 1432560"/>
                <a:gd name="connsiteY6" fmla="*/ 944880 h 1447800"/>
                <a:gd name="connsiteX7" fmla="*/ 1181100 w 1432560"/>
                <a:gd name="connsiteY7" fmla="*/ 693420 h 1447800"/>
                <a:gd name="connsiteX8" fmla="*/ 1234440 w 1432560"/>
                <a:gd name="connsiteY8" fmla="*/ 624840 h 1447800"/>
                <a:gd name="connsiteX9" fmla="*/ 1371600 w 1432560"/>
                <a:gd name="connsiteY9" fmla="*/ 518160 h 1447800"/>
                <a:gd name="connsiteX10" fmla="*/ 1432560 w 1432560"/>
                <a:gd name="connsiteY10" fmla="*/ 388620 h 1447800"/>
                <a:gd name="connsiteX11" fmla="*/ 1272540 w 1432560"/>
                <a:gd name="connsiteY11" fmla="*/ 304800 h 1447800"/>
                <a:gd name="connsiteX12" fmla="*/ 1257300 w 1432560"/>
                <a:gd name="connsiteY12" fmla="*/ 152400 h 1447800"/>
                <a:gd name="connsiteX13" fmla="*/ 1059180 w 1432560"/>
                <a:gd name="connsiteY13" fmla="*/ 0 h 1447800"/>
                <a:gd name="connsiteX14" fmla="*/ 868680 w 1432560"/>
                <a:gd name="connsiteY14" fmla="*/ 22860 h 1447800"/>
                <a:gd name="connsiteX15" fmla="*/ 838200 w 1432560"/>
                <a:gd name="connsiteY15" fmla="*/ 114300 h 1447800"/>
                <a:gd name="connsiteX16" fmla="*/ 800100 w 1432560"/>
                <a:gd name="connsiteY16" fmla="*/ 182880 h 1447800"/>
                <a:gd name="connsiteX17" fmla="*/ 617220 w 1432560"/>
                <a:gd name="connsiteY17" fmla="*/ 129540 h 1447800"/>
                <a:gd name="connsiteX18" fmla="*/ 548640 w 1432560"/>
                <a:gd name="connsiteY18" fmla="*/ 297180 h 1447800"/>
                <a:gd name="connsiteX19" fmla="*/ 548640 w 1432560"/>
                <a:gd name="connsiteY19" fmla="*/ 449580 h 1447800"/>
                <a:gd name="connsiteX20" fmla="*/ 457200 w 1432560"/>
                <a:gd name="connsiteY20" fmla="*/ 685800 h 1447800"/>
                <a:gd name="connsiteX21" fmla="*/ 411480 w 1432560"/>
                <a:gd name="connsiteY21" fmla="*/ 792480 h 1447800"/>
                <a:gd name="connsiteX22" fmla="*/ 403860 w 1432560"/>
                <a:gd name="connsiteY22" fmla="*/ 952500 h 1447800"/>
                <a:gd name="connsiteX23" fmla="*/ 358140 w 1432560"/>
                <a:gd name="connsiteY23" fmla="*/ 1005840 h 1447800"/>
                <a:gd name="connsiteX24" fmla="*/ 403860 w 1432560"/>
                <a:gd name="connsiteY24" fmla="*/ 1104900 h 1447800"/>
                <a:gd name="connsiteX25" fmla="*/ 350520 w 1432560"/>
                <a:gd name="connsiteY25" fmla="*/ 1318260 h 1447800"/>
                <a:gd name="connsiteX26" fmla="*/ 53340 w 1432560"/>
                <a:gd name="connsiteY26" fmla="*/ 1287780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32560" h="1447800">
                  <a:moveTo>
                    <a:pt x="53340" y="1287780"/>
                  </a:moveTo>
                  <a:lnTo>
                    <a:pt x="0" y="1394460"/>
                  </a:lnTo>
                  <a:lnTo>
                    <a:pt x="243840" y="1417320"/>
                  </a:lnTo>
                  <a:lnTo>
                    <a:pt x="335280" y="1447800"/>
                  </a:lnTo>
                  <a:lnTo>
                    <a:pt x="640080" y="1371600"/>
                  </a:lnTo>
                  <a:lnTo>
                    <a:pt x="723900" y="1219200"/>
                  </a:lnTo>
                  <a:lnTo>
                    <a:pt x="952500" y="944880"/>
                  </a:lnTo>
                  <a:lnTo>
                    <a:pt x="1181100" y="693420"/>
                  </a:lnTo>
                  <a:lnTo>
                    <a:pt x="1234440" y="624840"/>
                  </a:lnTo>
                  <a:lnTo>
                    <a:pt x="1371600" y="518160"/>
                  </a:lnTo>
                  <a:lnTo>
                    <a:pt x="1432560" y="388620"/>
                  </a:lnTo>
                  <a:lnTo>
                    <a:pt x="1272540" y="304800"/>
                  </a:lnTo>
                  <a:lnTo>
                    <a:pt x="1257300" y="152400"/>
                  </a:lnTo>
                  <a:lnTo>
                    <a:pt x="1059180" y="0"/>
                  </a:lnTo>
                  <a:lnTo>
                    <a:pt x="868680" y="22860"/>
                  </a:lnTo>
                  <a:lnTo>
                    <a:pt x="838200" y="114300"/>
                  </a:lnTo>
                  <a:lnTo>
                    <a:pt x="800100" y="182880"/>
                  </a:lnTo>
                  <a:lnTo>
                    <a:pt x="617220" y="129540"/>
                  </a:lnTo>
                  <a:lnTo>
                    <a:pt x="548640" y="297180"/>
                  </a:lnTo>
                  <a:lnTo>
                    <a:pt x="548640" y="449580"/>
                  </a:lnTo>
                  <a:lnTo>
                    <a:pt x="457200" y="685800"/>
                  </a:lnTo>
                  <a:lnTo>
                    <a:pt x="411480" y="792480"/>
                  </a:lnTo>
                  <a:lnTo>
                    <a:pt x="403860" y="952500"/>
                  </a:lnTo>
                  <a:lnTo>
                    <a:pt x="358140" y="1005840"/>
                  </a:lnTo>
                  <a:lnTo>
                    <a:pt x="403860" y="1104900"/>
                  </a:lnTo>
                  <a:lnTo>
                    <a:pt x="350520" y="1318260"/>
                  </a:lnTo>
                  <a:lnTo>
                    <a:pt x="53340" y="128778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4" name="Freeform 163"/>
            <p:cNvSpPr/>
            <p:nvPr/>
          </p:nvSpPr>
          <p:spPr>
            <a:xfrm>
              <a:off x="3070783" y="3563163"/>
              <a:ext cx="519891" cy="425826"/>
            </a:xfrm>
            <a:custGeom>
              <a:avLst/>
              <a:gdLst>
                <a:gd name="connsiteX0" fmla="*/ 0 w 1066800"/>
                <a:gd name="connsiteY0" fmla="*/ 708660 h 1005840"/>
                <a:gd name="connsiteX1" fmla="*/ 114300 w 1066800"/>
                <a:gd name="connsiteY1" fmla="*/ 800100 h 1005840"/>
                <a:gd name="connsiteX2" fmla="*/ 144780 w 1066800"/>
                <a:gd name="connsiteY2" fmla="*/ 1005840 h 1005840"/>
                <a:gd name="connsiteX3" fmla="*/ 220980 w 1066800"/>
                <a:gd name="connsiteY3" fmla="*/ 967740 h 1005840"/>
                <a:gd name="connsiteX4" fmla="*/ 228600 w 1066800"/>
                <a:gd name="connsiteY4" fmla="*/ 906780 h 1005840"/>
                <a:gd name="connsiteX5" fmla="*/ 419100 w 1066800"/>
                <a:gd name="connsiteY5" fmla="*/ 845820 h 1005840"/>
                <a:gd name="connsiteX6" fmla="*/ 449580 w 1066800"/>
                <a:gd name="connsiteY6" fmla="*/ 967740 h 1005840"/>
                <a:gd name="connsiteX7" fmla="*/ 563880 w 1066800"/>
                <a:gd name="connsiteY7" fmla="*/ 929640 h 1005840"/>
                <a:gd name="connsiteX8" fmla="*/ 594360 w 1066800"/>
                <a:gd name="connsiteY8" fmla="*/ 861060 h 1005840"/>
                <a:gd name="connsiteX9" fmla="*/ 723900 w 1066800"/>
                <a:gd name="connsiteY9" fmla="*/ 922020 h 1005840"/>
                <a:gd name="connsiteX10" fmla="*/ 822960 w 1066800"/>
                <a:gd name="connsiteY10" fmla="*/ 899160 h 1005840"/>
                <a:gd name="connsiteX11" fmla="*/ 883920 w 1066800"/>
                <a:gd name="connsiteY11" fmla="*/ 800100 h 1005840"/>
                <a:gd name="connsiteX12" fmla="*/ 906780 w 1066800"/>
                <a:gd name="connsiteY12" fmla="*/ 754380 h 1005840"/>
                <a:gd name="connsiteX13" fmla="*/ 1059180 w 1066800"/>
                <a:gd name="connsiteY13" fmla="*/ 640080 h 1005840"/>
                <a:gd name="connsiteX14" fmla="*/ 1066800 w 1066800"/>
                <a:gd name="connsiteY14" fmla="*/ 533400 h 1005840"/>
                <a:gd name="connsiteX15" fmla="*/ 1036320 w 1066800"/>
                <a:gd name="connsiteY15" fmla="*/ 495300 h 1005840"/>
                <a:gd name="connsiteX16" fmla="*/ 982980 w 1066800"/>
                <a:gd name="connsiteY16" fmla="*/ 403860 h 1005840"/>
                <a:gd name="connsiteX17" fmla="*/ 1021080 w 1066800"/>
                <a:gd name="connsiteY17" fmla="*/ 342900 h 1005840"/>
                <a:gd name="connsiteX18" fmla="*/ 1036320 w 1066800"/>
                <a:gd name="connsiteY18" fmla="*/ 236220 h 1005840"/>
                <a:gd name="connsiteX19" fmla="*/ 1059180 w 1066800"/>
                <a:gd name="connsiteY19" fmla="*/ 182880 h 1005840"/>
                <a:gd name="connsiteX20" fmla="*/ 1021080 w 1066800"/>
                <a:gd name="connsiteY20" fmla="*/ 129540 h 1005840"/>
                <a:gd name="connsiteX21" fmla="*/ 1043940 w 1066800"/>
                <a:gd name="connsiteY21" fmla="*/ 76200 h 1005840"/>
                <a:gd name="connsiteX22" fmla="*/ 861060 w 1066800"/>
                <a:gd name="connsiteY22" fmla="*/ 7620 h 1005840"/>
                <a:gd name="connsiteX23" fmla="*/ 701040 w 1066800"/>
                <a:gd name="connsiteY23" fmla="*/ 45720 h 1005840"/>
                <a:gd name="connsiteX24" fmla="*/ 662940 w 1066800"/>
                <a:gd name="connsiteY24" fmla="*/ 0 h 1005840"/>
                <a:gd name="connsiteX25" fmla="*/ 502920 w 1066800"/>
                <a:gd name="connsiteY25" fmla="*/ 99060 h 1005840"/>
                <a:gd name="connsiteX26" fmla="*/ 434340 w 1066800"/>
                <a:gd name="connsiteY26" fmla="*/ 198120 h 1005840"/>
                <a:gd name="connsiteX27" fmla="*/ 220980 w 1066800"/>
                <a:gd name="connsiteY27" fmla="*/ 396240 h 1005840"/>
                <a:gd name="connsiteX28" fmla="*/ 0 w 1066800"/>
                <a:gd name="connsiteY28" fmla="*/ 708660 h 1005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66800" h="1005840">
                  <a:moveTo>
                    <a:pt x="0" y="708660"/>
                  </a:moveTo>
                  <a:lnTo>
                    <a:pt x="114300" y="800100"/>
                  </a:lnTo>
                  <a:lnTo>
                    <a:pt x="144780" y="1005840"/>
                  </a:lnTo>
                  <a:lnTo>
                    <a:pt x="220980" y="967740"/>
                  </a:lnTo>
                  <a:lnTo>
                    <a:pt x="228600" y="906780"/>
                  </a:lnTo>
                  <a:lnTo>
                    <a:pt x="419100" y="845820"/>
                  </a:lnTo>
                  <a:lnTo>
                    <a:pt x="449580" y="967740"/>
                  </a:lnTo>
                  <a:lnTo>
                    <a:pt x="563880" y="929640"/>
                  </a:lnTo>
                  <a:lnTo>
                    <a:pt x="594360" y="861060"/>
                  </a:lnTo>
                  <a:lnTo>
                    <a:pt x="723900" y="922020"/>
                  </a:lnTo>
                  <a:lnTo>
                    <a:pt x="822960" y="899160"/>
                  </a:lnTo>
                  <a:lnTo>
                    <a:pt x="883920" y="800100"/>
                  </a:lnTo>
                  <a:lnTo>
                    <a:pt x="906780" y="754380"/>
                  </a:lnTo>
                  <a:lnTo>
                    <a:pt x="1059180" y="640080"/>
                  </a:lnTo>
                  <a:lnTo>
                    <a:pt x="1066800" y="533400"/>
                  </a:lnTo>
                  <a:lnTo>
                    <a:pt x="1036320" y="495300"/>
                  </a:lnTo>
                  <a:lnTo>
                    <a:pt x="982980" y="403860"/>
                  </a:lnTo>
                  <a:lnTo>
                    <a:pt x="1021080" y="342900"/>
                  </a:lnTo>
                  <a:lnTo>
                    <a:pt x="1036320" y="236220"/>
                  </a:lnTo>
                  <a:lnTo>
                    <a:pt x="1059180" y="182880"/>
                  </a:lnTo>
                  <a:lnTo>
                    <a:pt x="1021080" y="129540"/>
                  </a:lnTo>
                  <a:lnTo>
                    <a:pt x="1043940" y="76200"/>
                  </a:lnTo>
                  <a:lnTo>
                    <a:pt x="861060" y="7620"/>
                  </a:lnTo>
                  <a:lnTo>
                    <a:pt x="701040" y="45720"/>
                  </a:lnTo>
                  <a:lnTo>
                    <a:pt x="662940" y="0"/>
                  </a:lnTo>
                  <a:lnTo>
                    <a:pt x="502920" y="99060"/>
                  </a:lnTo>
                  <a:lnTo>
                    <a:pt x="434340" y="198120"/>
                  </a:lnTo>
                  <a:lnTo>
                    <a:pt x="220980" y="396240"/>
                  </a:lnTo>
                  <a:lnTo>
                    <a:pt x="0" y="70866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5" name="Freeform 164"/>
            <p:cNvSpPr/>
            <p:nvPr/>
          </p:nvSpPr>
          <p:spPr>
            <a:xfrm>
              <a:off x="3289881" y="3608325"/>
              <a:ext cx="802119" cy="506475"/>
            </a:xfrm>
            <a:custGeom>
              <a:avLst/>
              <a:gdLst>
                <a:gd name="connsiteX0" fmla="*/ 0 w 1645920"/>
                <a:gd name="connsiteY0" fmla="*/ 883920 h 1196340"/>
                <a:gd name="connsiteX1" fmla="*/ 0 w 1645920"/>
                <a:gd name="connsiteY1" fmla="*/ 883920 h 1196340"/>
                <a:gd name="connsiteX2" fmla="*/ 53340 w 1645920"/>
                <a:gd name="connsiteY2" fmla="*/ 975360 h 1196340"/>
                <a:gd name="connsiteX3" fmla="*/ 60960 w 1645920"/>
                <a:gd name="connsiteY3" fmla="*/ 1059180 h 1196340"/>
                <a:gd name="connsiteX4" fmla="*/ 144780 w 1645920"/>
                <a:gd name="connsiteY4" fmla="*/ 1051560 h 1196340"/>
                <a:gd name="connsiteX5" fmla="*/ 274320 w 1645920"/>
                <a:gd name="connsiteY5" fmla="*/ 1196340 h 1196340"/>
                <a:gd name="connsiteX6" fmla="*/ 320040 w 1645920"/>
                <a:gd name="connsiteY6" fmla="*/ 1066800 h 1196340"/>
                <a:gd name="connsiteX7" fmla="*/ 403860 w 1645920"/>
                <a:gd name="connsiteY7" fmla="*/ 1043940 h 1196340"/>
                <a:gd name="connsiteX8" fmla="*/ 396240 w 1645920"/>
                <a:gd name="connsiteY8" fmla="*/ 982980 h 1196340"/>
                <a:gd name="connsiteX9" fmla="*/ 464820 w 1645920"/>
                <a:gd name="connsiteY9" fmla="*/ 1051560 h 1196340"/>
                <a:gd name="connsiteX10" fmla="*/ 525780 w 1645920"/>
                <a:gd name="connsiteY10" fmla="*/ 1021080 h 1196340"/>
                <a:gd name="connsiteX11" fmla="*/ 533400 w 1645920"/>
                <a:gd name="connsiteY11" fmla="*/ 937260 h 1196340"/>
                <a:gd name="connsiteX12" fmla="*/ 609600 w 1645920"/>
                <a:gd name="connsiteY12" fmla="*/ 891540 h 1196340"/>
                <a:gd name="connsiteX13" fmla="*/ 655320 w 1645920"/>
                <a:gd name="connsiteY13" fmla="*/ 906780 h 1196340"/>
                <a:gd name="connsiteX14" fmla="*/ 731520 w 1645920"/>
                <a:gd name="connsiteY14" fmla="*/ 838200 h 1196340"/>
                <a:gd name="connsiteX15" fmla="*/ 800100 w 1645920"/>
                <a:gd name="connsiteY15" fmla="*/ 876300 h 1196340"/>
                <a:gd name="connsiteX16" fmla="*/ 792480 w 1645920"/>
                <a:gd name="connsiteY16" fmla="*/ 937260 h 1196340"/>
                <a:gd name="connsiteX17" fmla="*/ 861060 w 1645920"/>
                <a:gd name="connsiteY17" fmla="*/ 922020 h 1196340"/>
                <a:gd name="connsiteX18" fmla="*/ 861060 w 1645920"/>
                <a:gd name="connsiteY18" fmla="*/ 1066800 h 1196340"/>
                <a:gd name="connsiteX19" fmla="*/ 982980 w 1645920"/>
                <a:gd name="connsiteY19" fmla="*/ 1082040 h 1196340"/>
                <a:gd name="connsiteX20" fmla="*/ 1127760 w 1645920"/>
                <a:gd name="connsiteY20" fmla="*/ 1013460 h 1196340"/>
                <a:gd name="connsiteX21" fmla="*/ 1158240 w 1645920"/>
                <a:gd name="connsiteY21" fmla="*/ 1036320 h 1196340"/>
                <a:gd name="connsiteX22" fmla="*/ 1165860 w 1645920"/>
                <a:gd name="connsiteY22" fmla="*/ 1112520 h 1196340"/>
                <a:gd name="connsiteX23" fmla="*/ 1264920 w 1645920"/>
                <a:gd name="connsiteY23" fmla="*/ 1021080 h 1196340"/>
                <a:gd name="connsiteX24" fmla="*/ 1264920 w 1645920"/>
                <a:gd name="connsiteY24" fmla="*/ 944880 h 1196340"/>
                <a:gd name="connsiteX25" fmla="*/ 1386840 w 1645920"/>
                <a:gd name="connsiteY25" fmla="*/ 929640 h 1196340"/>
                <a:gd name="connsiteX26" fmla="*/ 1470660 w 1645920"/>
                <a:gd name="connsiteY26" fmla="*/ 861060 h 1196340"/>
                <a:gd name="connsiteX27" fmla="*/ 1584960 w 1645920"/>
                <a:gd name="connsiteY27" fmla="*/ 838200 h 1196340"/>
                <a:gd name="connsiteX28" fmla="*/ 1493520 w 1645920"/>
                <a:gd name="connsiteY28" fmla="*/ 708660 h 1196340"/>
                <a:gd name="connsiteX29" fmla="*/ 1493520 w 1645920"/>
                <a:gd name="connsiteY29" fmla="*/ 655320 h 1196340"/>
                <a:gd name="connsiteX30" fmla="*/ 1524000 w 1645920"/>
                <a:gd name="connsiteY30" fmla="*/ 586740 h 1196340"/>
                <a:gd name="connsiteX31" fmla="*/ 1539240 w 1645920"/>
                <a:gd name="connsiteY31" fmla="*/ 548640 h 1196340"/>
                <a:gd name="connsiteX32" fmla="*/ 1432560 w 1645920"/>
                <a:gd name="connsiteY32" fmla="*/ 495300 h 1196340"/>
                <a:gd name="connsiteX33" fmla="*/ 1569720 w 1645920"/>
                <a:gd name="connsiteY33" fmla="*/ 281940 h 1196340"/>
                <a:gd name="connsiteX34" fmla="*/ 1615440 w 1645920"/>
                <a:gd name="connsiteY34" fmla="*/ 236220 h 1196340"/>
                <a:gd name="connsiteX35" fmla="*/ 1623060 w 1645920"/>
                <a:gd name="connsiteY35" fmla="*/ 167640 h 1196340"/>
                <a:gd name="connsiteX36" fmla="*/ 1645920 w 1645920"/>
                <a:gd name="connsiteY36" fmla="*/ 121920 h 1196340"/>
                <a:gd name="connsiteX37" fmla="*/ 1584960 w 1645920"/>
                <a:gd name="connsiteY37" fmla="*/ 53340 h 1196340"/>
                <a:gd name="connsiteX38" fmla="*/ 1516380 w 1645920"/>
                <a:gd name="connsiteY38" fmla="*/ 22860 h 1196340"/>
                <a:gd name="connsiteX39" fmla="*/ 1417320 w 1645920"/>
                <a:gd name="connsiteY39" fmla="*/ 30480 h 1196340"/>
                <a:gd name="connsiteX40" fmla="*/ 1386840 w 1645920"/>
                <a:gd name="connsiteY40" fmla="*/ 0 h 1196340"/>
                <a:gd name="connsiteX41" fmla="*/ 1356360 w 1645920"/>
                <a:gd name="connsiteY41" fmla="*/ 60960 h 1196340"/>
                <a:gd name="connsiteX42" fmla="*/ 1242060 w 1645920"/>
                <a:gd name="connsiteY42" fmla="*/ 83820 h 1196340"/>
                <a:gd name="connsiteX43" fmla="*/ 1226820 w 1645920"/>
                <a:gd name="connsiteY43" fmla="*/ 68580 h 1196340"/>
                <a:gd name="connsiteX44" fmla="*/ 1158240 w 1645920"/>
                <a:gd name="connsiteY44" fmla="*/ 144780 h 1196340"/>
                <a:gd name="connsiteX45" fmla="*/ 1051560 w 1645920"/>
                <a:gd name="connsiteY45" fmla="*/ 144780 h 1196340"/>
                <a:gd name="connsiteX46" fmla="*/ 1043940 w 1645920"/>
                <a:gd name="connsiteY46" fmla="*/ 99060 h 1196340"/>
                <a:gd name="connsiteX47" fmla="*/ 937260 w 1645920"/>
                <a:gd name="connsiteY47" fmla="*/ 167640 h 1196340"/>
                <a:gd name="connsiteX48" fmla="*/ 838200 w 1645920"/>
                <a:gd name="connsiteY48" fmla="*/ 152400 h 1196340"/>
                <a:gd name="connsiteX49" fmla="*/ 784860 w 1645920"/>
                <a:gd name="connsiteY49" fmla="*/ 137160 h 1196340"/>
                <a:gd name="connsiteX50" fmla="*/ 784860 w 1645920"/>
                <a:gd name="connsiteY50" fmla="*/ 30480 h 1196340"/>
                <a:gd name="connsiteX51" fmla="*/ 617220 w 1645920"/>
                <a:gd name="connsiteY51" fmla="*/ 68580 h 1196340"/>
                <a:gd name="connsiteX52" fmla="*/ 617220 w 1645920"/>
                <a:gd name="connsiteY52" fmla="*/ 68580 h 1196340"/>
                <a:gd name="connsiteX53" fmla="*/ 579120 w 1645920"/>
                <a:gd name="connsiteY53" fmla="*/ 198120 h 1196340"/>
                <a:gd name="connsiteX54" fmla="*/ 541020 w 1645920"/>
                <a:gd name="connsiteY54" fmla="*/ 281940 h 1196340"/>
                <a:gd name="connsiteX55" fmla="*/ 617220 w 1645920"/>
                <a:gd name="connsiteY55" fmla="*/ 457200 h 1196340"/>
                <a:gd name="connsiteX56" fmla="*/ 617220 w 1645920"/>
                <a:gd name="connsiteY56" fmla="*/ 533400 h 1196340"/>
                <a:gd name="connsiteX57" fmla="*/ 480060 w 1645920"/>
                <a:gd name="connsiteY57" fmla="*/ 617220 h 1196340"/>
                <a:gd name="connsiteX58" fmla="*/ 358140 w 1645920"/>
                <a:gd name="connsiteY58" fmla="*/ 800100 h 1196340"/>
                <a:gd name="connsiteX59" fmla="*/ 289560 w 1645920"/>
                <a:gd name="connsiteY59" fmla="*/ 830580 h 1196340"/>
                <a:gd name="connsiteX60" fmla="*/ 144780 w 1645920"/>
                <a:gd name="connsiteY60" fmla="*/ 777240 h 1196340"/>
                <a:gd name="connsiteX61" fmla="*/ 129540 w 1645920"/>
                <a:gd name="connsiteY61" fmla="*/ 815340 h 1196340"/>
                <a:gd name="connsiteX62" fmla="*/ 0 w 1645920"/>
                <a:gd name="connsiteY62" fmla="*/ 883920 h 119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645920" h="1196340">
                  <a:moveTo>
                    <a:pt x="0" y="883920"/>
                  </a:moveTo>
                  <a:lnTo>
                    <a:pt x="0" y="883920"/>
                  </a:lnTo>
                  <a:lnTo>
                    <a:pt x="53340" y="975360"/>
                  </a:lnTo>
                  <a:lnTo>
                    <a:pt x="60960" y="1059180"/>
                  </a:lnTo>
                  <a:lnTo>
                    <a:pt x="144780" y="1051560"/>
                  </a:lnTo>
                  <a:lnTo>
                    <a:pt x="274320" y="1196340"/>
                  </a:lnTo>
                  <a:lnTo>
                    <a:pt x="320040" y="1066800"/>
                  </a:lnTo>
                  <a:lnTo>
                    <a:pt x="403860" y="1043940"/>
                  </a:lnTo>
                  <a:lnTo>
                    <a:pt x="396240" y="982980"/>
                  </a:lnTo>
                  <a:lnTo>
                    <a:pt x="464820" y="1051560"/>
                  </a:lnTo>
                  <a:lnTo>
                    <a:pt x="525780" y="1021080"/>
                  </a:lnTo>
                  <a:lnTo>
                    <a:pt x="533400" y="937260"/>
                  </a:lnTo>
                  <a:lnTo>
                    <a:pt x="609600" y="891540"/>
                  </a:lnTo>
                  <a:lnTo>
                    <a:pt x="655320" y="906780"/>
                  </a:lnTo>
                  <a:lnTo>
                    <a:pt x="731520" y="838200"/>
                  </a:lnTo>
                  <a:lnTo>
                    <a:pt x="800100" y="876300"/>
                  </a:lnTo>
                  <a:lnTo>
                    <a:pt x="792480" y="937260"/>
                  </a:lnTo>
                  <a:lnTo>
                    <a:pt x="861060" y="922020"/>
                  </a:lnTo>
                  <a:lnTo>
                    <a:pt x="861060" y="1066800"/>
                  </a:lnTo>
                  <a:lnTo>
                    <a:pt x="982980" y="1082040"/>
                  </a:lnTo>
                  <a:lnTo>
                    <a:pt x="1127760" y="1013460"/>
                  </a:lnTo>
                  <a:lnTo>
                    <a:pt x="1158240" y="1036320"/>
                  </a:lnTo>
                  <a:lnTo>
                    <a:pt x="1165860" y="1112520"/>
                  </a:lnTo>
                  <a:lnTo>
                    <a:pt x="1264920" y="1021080"/>
                  </a:lnTo>
                  <a:lnTo>
                    <a:pt x="1264920" y="944880"/>
                  </a:lnTo>
                  <a:lnTo>
                    <a:pt x="1386840" y="929640"/>
                  </a:lnTo>
                  <a:lnTo>
                    <a:pt x="1470660" y="861060"/>
                  </a:lnTo>
                  <a:lnTo>
                    <a:pt x="1584960" y="838200"/>
                  </a:lnTo>
                  <a:lnTo>
                    <a:pt x="1493520" y="708660"/>
                  </a:lnTo>
                  <a:lnTo>
                    <a:pt x="1493520" y="655320"/>
                  </a:lnTo>
                  <a:lnTo>
                    <a:pt x="1524000" y="586740"/>
                  </a:lnTo>
                  <a:lnTo>
                    <a:pt x="1539240" y="548640"/>
                  </a:lnTo>
                  <a:lnTo>
                    <a:pt x="1432560" y="495300"/>
                  </a:lnTo>
                  <a:lnTo>
                    <a:pt x="1569720" y="281940"/>
                  </a:lnTo>
                  <a:lnTo>
                    <a:pt x="1615440" y="236220"/>
                  </a:lnTo>
                  <a:lnTo>
                    <a:pt x="1623060" y="167640"/>
                  </a:lnTo>
                  <a:lnTo>
                    <a:pt x="1645920" y="121920"/>
                  </a:lnTo>
                  <a:lnTo>
                    <a:pt x="1584960" y="53340"/>
                  </a:lnTo>
                  <a:lnTo>
                    <a:pt x="1516380" y="22860"/>
                  </a:lnTo>
                  <a:lnTo>
                    <a:pt x="1417320" y="30480"/>
                  </a:lnTo>
                  <a:lnTo>
                    <a:pt x="1386840" y="0"/>
                  </a:lnTo>
                  <a:lnTo>
                    <a:pt x="1356360" y="60960"/>
                  </a:lnTo>
                  <a:lnTo>
                    <a:pt x="1242060" y="83820"/>
                  </a:lnTo>
                  <a:lnTo>
                    <a:pt x="1226820" y="68580"/>
                  </a:lnTo>
                  <a:lnTo>
                    <a:pt x="1158240" y="144780"/>
                  </a:lnTo>
                  <a:lnTo>
                    <a:pt x="1051560" y="144780"/>
                  </a:lnTo>
                  <a:lnTo>
                    <a:pt x="1043940" y="99060"/>
                  </a:lnTo>
                  <a:lnTo>
                    <a:pt x="937260" y="167640"/>
                  </a:lnTo>
                  <a:lnTo>
                    <a:pt x="838200" y="152400"/>
                  </a:lnTo>
                  <a:lnTo>
                    <a:pt x="784860" y="137160"/>
                  </a:lnTo>
                  <a:lnTo>
                    <a:pt x="784860" y="30480"/>
                  </a:lnTo>
                  <a:lnTo>
                    <a:pt x="617220" y="68580"/>
                  </a:lnTo>
                  <a:lnTo>
                    <a:pt x="617220" y="68580"/>
                  </a:lnTo>
                  <a:lnTo>
                    <a:pt x="579120" y="198120"/>
                  </a:lnTo>
                  <a:lnTo>
                    <a:pt x="541020" y="281940"/>
                  </a:lnTo>
                  <a:lnTo>
                    <a:pt x="617220" y="457200"/>
                  </a:lnTo>
                  <a:lnTo>
                    <a:pt x="617220" y="533400"/>
                  </a:lnTo>
                  <a:lnTo>
                    <a:pt x="480060" y="617220"/>
                  </a:lnTo>
                  <a:lnTo>
                    <a:pt x="358140" y="800100"/>
                  </a:lnTo>
                  <a:lnTo>
                    <a:pt x="289560" y="830580"/>
                  </a:lnTo>
                  <a:lnTo>
                    <a:pt x="144780" y="777240"/>
                  </a:lnTo>
                  <a:lnTo>
                    <a:pt x="129540" y="815340"/>
                  </a:lnTo>
                  <a:lnTo>
                    <a:pt x="0" y="88392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6" name="Freeform 165"/>
            <p:cNvSpPr/>
            <p:nvPr/>
          </p:nvSpPr>
          <p:spPr>
            <a:xfrm>
              <a:off x="3386434" y="3417996"/>
              <a:ext cx="341644" cy="225816"/>
            </a:xfrm>
            <a:custGeom>
              <a:avLst/>
              <a:gdLst>
                <a:gd name="connsiteX0" fmla="*/ 53340 w 701040"/>
                <a:gd name="connsiteY0" fmla="*/ 388620 h 533400"/>
                <a:gd name="connsiteX1" fmla="*/ 0 w 701040"/>
                <a:gd name="connsiteY1" fmla="*/ 327660 h 533400"/>
                <a:gd name="connsiteX2" fmla="*/ 45720 w 701040"/>
                <a:gd name="connsiteY2" fmla="*/ 198120 h 533400"/>
                <a:gd name="connsiteX3" fmla="*/ 335280 w 701040"/>
                <a:gd name="connsiteY3" fmla="*/ 114300 h 533400"/>
                <a:gd name="connsiteX4" fmla="*/ 365760 w 701040"/>
                <a:gd name="connsiteY4" fmla="*/ 83820 h 533400"/>
                <a:gd name="connsiteX5" fmla="*/ 464820 w 701040"/>
                <a:gd name="connsiteY5" fmla="*/ 0 h 533400"/>
                <a:gd name="connsiteX6" fmla="*/ 449580 w 701040"/>
                <a:gd name="connsiteY6" fmla="*/ 91440 h 533400"/>
                <a:gd name="connsiteX7" fmla="*/ 556260 w 701040"/>
                <a:gd name="connsiteY7" fmla="*/ 83820 h 533400"/>
                <a:gd name="connsiteX8" fmla="*/ 502920 w 701040"/>
                <a:gd name="connsiteY8" fmla="*/ 152400 h 533400"/>
                <a:gd name="connsiteX9" fmla="*/ 701040 w 701040"/>
                <a:gd name="connsiteY9" fmla="*/ 152400 h 533400"/>
                <a:gd name="connsiteX10" fmla="*/ 579120 w 701040"/>
                <a:gd name="connsiteY10" fmla="*/ 274320 h 533400"/>
                <a:gd name="connsiteX11" fmla="*/ 609600 w 701040"/>
                <a:gd name="connsiteY11" fmla="*/ 373380 h 533400"/>
                <a:gd name="connsiteX12" fmla="*/ 571500 w 701040"/>
                <a:gd name="connsiteY12" fmla="*/ 480060 h 533400"/>
                <a:gd name="connsiteX13" fmla="*/ 396240 w 701040"/>
                <a:gd name="connsiteY13" fmla="*/ 533400 h 533400"/>
                <a:gd name="connsiteX14" fmla="*/ 381000 w 701040"/>
                <a:gd name="connsiteY14" fmla="*/ 487680 h 533400"/>
                <a:gd name="connsiteX15" fmla="*/ 403860 w 701040"/>
                <a:gd name="connsiteY15" fmla="*/ 419100 h 533400"/>
                <a:gd name="connsiteX16" fmla="*/ 236220 w 701040"/>
                <a:gd name="connsiteY16" fmla="*/ 342900 h 533400"/>
                <a:gd name="connsiteX17" fmla="*/ 53340 w 701040"/>
                <a:gd name="connsiteY17" fmla="*/ 38862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01040" h="533400">
                  <a:moveTo>
                    <a:pt x="53340" y="388620"/>
                  </a:moveTo>
                  <a:lnTo>
                    <a:pt x="0" y="327660"/>
                  </a:lnTo>
                  <a:lnTo>
                    <a:pt x="45720" y="198120"/>
                  </a:lnTo>
                  <a:lnTo>
                    <a:pt x="335280" y="114300"/>
                  </a:lnTo>
                  <a:lnTo>
                    <a:pt x="365760" y="83820"/>
                  </a:lnTo>
                  <a:lnTo>
                    <a:pt x="464820" y="0"/>
                  </a:lnTo>
                  <a:lnTo>
                    <a:pt x="449580" y="91440"/>
                  </a:lnTo>
                  <a:lnTo>
                    <a:pt x="556260" y="83820"/>
                  </a:lnTo>
                  <a:lnTo>
                    <a:pt x="502920" y="152400"/>
                  </a:lnTo>
                  <a:lnTo>
                    <a:pt x="701040" y="152400"/>
                  </a:lnTo>
                  <a:lnTo>
                    <a:pt x="579120" y="274320"/>
                  </a:lnTo>
                  <a:lnTo>
                    <a:pt x="609600" y="373380"/>
                  </a:lnTo>
                  <a:lnTo>
                    <a:pt x="571500" y="480060"/>
                  </a:lnTo>
                  <a:lnTo>
                    <a:pt x="396240" y="533400"/>
                  </a:lnTo>
                  <a:lnTo>
                    <a:pt x="381000" y="487680"/>
                  </a:lnTo>
                  <a:lnTo>
                    <a:pt x="403860" y="419100"/>
                  </a:lnTo>
                  <a:lnTo>
                    <a:pt x="236220" y="342900"/>
                  </a:lnTo>
                  <a:lnTo>
                    <a:pt x="53340" y="38862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7" name="Freeform 166"/>
            <p:cNvSpPr/>
            <p:nvPr/>
          </p:nvSpPr>
          <p:spPr>
            <a:xfrm>
              <a:off x="3612957" y="3127661"/>
              <a:ext cx="965512" cy="354854"/>
            </a:xfrm>
            <a:custGeom>
              <a:avLst/>
              <a:gdLst>
                <a:gd name="connsiteX0" fmla="*/ 68580 w 1981200"/>
                <a:gd name="connsiteY0" fmla="*/ 830580 h 838200"/>
                <a:gd name="connsiteX1" fmla="*/ 304800 w 1981200"/>
                <a:gd name="connsiteY1" fmla="*/ 769620 h 838200"/>
                <a:gd name="connsiteX2" fmla="*/ 449580 w 1981200"/>
                <a:gd name="connsiteY2" fmla="*/ 678180 h 838200"/>
                <a:gd name="connsiteX3" fmla="*/ 518160 w 1981200"/>
                <a:gd name="connsiteY3" fmla="*/ 754380 h 838200"/>
                <a:gd name="connsiteX4" fmla="*/ 609600 w 1981200"/>
                <a:gd name="connsiteY4" fmla="*/ 693420 h 838200"/>
                <a:gd name="connsiteX5" fmla="*/ 708660 w 1981200"/>
                <a:gd name="connsiteY5" fmla="*/ 708660 h 838200"/>
                <a:gd name="connsiteX6" fmla="*/ 723900 w 1981200"/>
                <a:gd name="connsiteY6" fmla="*/ 655320 h 838200"/>
                <a:gd name="connsiteX7" fmla="*/ 708660 w 1981200"/>
                <a:gd name="connsiteY7" fmla="*/ 586740 h 838200"/>
                <a:gd name="connsiteX8" fmla="*/ 754380 w 1981200"/>
                <a:gd name="connsiteY8" fmla="*/ 525780 h 838200"/>
                <a:gd name="connsiteX9" fmla="*/ 929640 w 1981200"/>
                <a:gd name="connsiteY9" fmla="*/ 563880 h 838200"/>
                <a:gd name="connsiteX10" fmla="*/ 998220 w 1981200"/>
                <a:gd name="connsiteY10" fmla="*/ 495300 h 838200"/>
                <a:gd name="connsiteX11" fmla="*/ 1280160 w 1981200"/>
                <a:gd name="connsiteY11" fmla="*/ 541020 h 838200"/>
                <a:gd name="connsiteX12" fmla="*/ 1379220 w 1981200"/>
                <a:gd name="connsiteY12" fmla="*/ 731520 h 838200"/>
                <a:gd name="connsiteX13" fmla="*/ 1463040 w 1981200"/>
                <a:gd name="connsiteY13" fmla="*/ 655320 h 838200"/>
                <a:gd name="connsiteX14" fmla="*/ 1798320 w 1981200"/>
                <a:gd name="connsiteY14" fmla="*/ 838200 h 838200"/>
                <a:gd name="connsiteX15" fmla="*/ 1767840 w 1981200"/>
                <a:gd name="connsiteY15" fmla="*/ 739140 h 838200"/>
                <a:gd name="connsiteX16" fmla="*/ 1805940 w 1981200"/>
                <a:gd name="connsiteY16" fmla="*/ 708660 h 838200"/>
                <a:gd name="connsiteX17" fmla="*/ 1920240 w 1981200"/>
                <a:gd name="connsiteY17" fmla="*/ 739140 h 838200"/>
                <a:gd name="connsiteX18" fmla="*/ 1981200 w 1981200"/>
                <a:gd name="connsiteY18" fmla="*/ 670560 h 838200"/>
                <a:gd name="connsiteX19" fmla="*/ 1866900 w 1981200"/>
                <a:gd name="connsiteY19" fmla="*/ 556260 h 838200"/>
                <a:gd name="connsiteX20" fmla="*/ 1767840 w 1981200"/>
                <a:gd name="connsiteY20" fmla="*/ 525780 h 838200"/>
                <a:gd name="connsiteX21" fmla="*/ 1775460 w 1981200"/>
                <a:gd name="connsiteY21" fmla="*/ 434340 h 838200"/>
                <a:gd name="connsiteX22" fmla="*/ 1684020 w 1981200"/>
                <a:gd name="connsiteY22" fmla="*/ 335280 h 838200"/>
                <a:gd name="connsiteX23" fmla="*/ 1554480 w 1981200"/>
                <a:gd name="connsiteY23" fmla="*/ 320040 h 838200"/>
                <a:gd name="connsiteX24" fmla="*/ 1447800 w 1981200"/>
                <a:gd name="connsiteY24" fmla="*/ 434340 h 838200"/>
                <a:gd name="connsiteX25" fmla="*/ 1341120 w 1981200"/>
                <a:gd name="connsiteY25" fmla="*/ 441960 h 838200"/>
                <a:gd name="connsiteX26" fmla="*/ 1211580 w 1981200"/>
                <a:gd name="connsiteY26" fmla="*/ 342900 h 838200"/>
                <a:gd name="connsiteX27" fmla="*/ 1158240 w 1981200"/>
                <a:gd name="connsiteY27" fmla="*/ 388620 h 838200"/>
                <a:gd name="connsiteX28" fmla="*/ 1112520 w 1981200"/>
                <a:gd name="connsiteY28" fmla="*/ 426720 h 838200"/>
                <a:gd name="connsiteX29" fmla="*/ 1021080 w 1981200"/>
                <a:gd name="connsiteY29" fmla="*/ 381000 h 838200"/>
                <a:gd name="connsiteX30" fmla="*/ 899160 w 1981200"/>
                <a:gd name="connsiteY30" fmla="*/ 373380 h 838200"/>
                <a:gd name="connsiteX31" fmla="*/ 769620 w 1981200"/>
                <a:gd name="connsiteY31" fmla="*/ 182880 h 838200"/>
                <a:gd name="connsiteX32" fmla="*/ 640080 w 1981200"/>
                <a:gd name="connsiteY32" fmla="*/ 175260 h 838200"/>
                <a:gd name="connsiteX33" fmla="*/ 480060 w 1981200"/>
                <a:gd name="connsiteY33" fmla="*/ 0 h 838200"/>
                <a:gd name="connsiteX34" fmla="*/ 419100 w 1981200"/>
                <a:gd name="connsiteY34" fmla="*/ 0 h 838200"/>
                <a:gd name="connsiteX35" fmla="*/ 190500 w 1981200"/>
                <a:gd name="connsiteY35" fmla="*/ 53340 h 838200"/>
                <a:gd name="connsiteX36" fmla="*/ 83820 w 1981200"/>
                <a:gd name="connsiteY36" fmla="*/ 381000 h 838200"/>
                <a:gd name="connsiteX37" fmla="*/ 91440 w 1981200"/>
                <a:gd name="connsiteY37" fmla="*/ 464820 h 838200"/>
                <a:gd name="connsiteX38" fmla="*/ 45720 w 1981200"/>
                <a:gd name="connsiteY38" fmla="*/ 601980 h 838200"/>
                <a:gd name="connsiteX39" fmla="*/ 0 w 1981200"/>
                <a:gd name="connsiteY39" fmla="*/ 685800 h 838200"/>
                <a:gd name="connsiteX40" fmla="*/ 7620 w 1981200"/>
                <a:gd name="connsiteY40" fmla="*/ 777240 h 838200"/>
                <a:gd name="connsiteX41" fmla="*/ 114300 w 1981200"/>
                <a:gd name="connsiteY41" fmla="*/ 777240 h 838200"/>
                <a:gd name="connsiteX42" fmla="*/ 68580 w 1981200"/>
                <a:gd name="connsiteY42" fmla="*/ 830580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981200" h="838200">
                  <a:moveTo>
                    <a:pt x="68580" y="830580"/>
                  </a:moveTo>
                  <a:lnTo>
                    <a:pt x="304800" y="769620"/>
                  </a:lnTo>
                  <a:lnTo>
                    <a:pt x="449580" y="678180"/>
                  </a:lnTo>
                  <a:lnTo>
                    <a:pt x="518160" y="754380"/>
                  </a:lnTo>
                  <a:lnTo>
                    <a:pt x="609600" y="693420"/>
                  </a:lnTo>
                  <a:lnTo>
                    <a:pt x="708660" y="708660"/>
                  </a:lnTo>
                  <a:lnTo>
                    <a:pt x="723900" y="655320"/>
                  </a:lnTo>
                  <a:lnTo>
                    <a:pt x="708660" y="586740"/>
                  </a:lnTo>
                  <a:lnTo>
                    <a:pt x="754380" y="525780"/>
                  </a:lnTo>
                  <a:lnTo>
                    <a:pt x="929640" y="563880"/>
                  </a:lnTo>
                  <a:lnTo>
                    <a:pt x="998220" y="495300"/>
                  </a:lnTo>
                  <a:lnTo>
                    <a:pt x="1280160" y="541020"/>
                  </a:lnTo>
                  <a:lnTo>
                    <a:pt x="1379220" y="731520"/>
                  </a:lnTo>
                  <a:lnTo>
                    <a:pt x="1463040" y="655320"/>
                  </a:lnTo>
                  <a:lnTo>
                    <a:pt x="1798320" y="838200"/>
                  </a:lnTo>
                  <a:lnTo>
                    <a:pt x="1767840" y="739140"/>
                  </a:lnTo>
                  <a:lnTo>
                    <a:pt x="1805940" y="708660"/>
                  </a:lnTo>
                  <a:lnTo>
                    <a:pt x="1920240" y="739140"/>
                  </a:lnTo>
                  <a:lnTo>
                    <a:pt x="1981200" y="670560"/>
                  </a:lnTo>
                  <a:lnTo>
                    <a:pt x="1866900" y="556260"/>
                  </a:lnTo>
                  <a:lnTo>
                    <a:pt x="1767840" y="525780"/>
                  </a:lnTo>
                  <a:lnTo>
                    <a:pt x="1775460" y="434340"/>
                  </a:lnTo>
                  <a:lnTo>
                    <a:pt x="1684020" y="335280"/>
                  </a:lnTo>
                  <a:lnTo>
                    <a:pt x="1554480" y="320040"/>
                  </a:lnTo>
                  <a:lnTo>
                    <a:pt x="1447800" y="434340"/>
                  </a:lnTo>
                  <a:lnTo>
                    <a:pt x="1341120" y="441960"/>
                  </a:lnTo>
                  <a:lnTo>
                    <a:pt x="1211580" y="342900"/>
                  </a:lnTo>
                  <a:lnTo>
                    <a:pt x="1158240" y="388620"/>
                  </a:lnTo>
                  <a:lnTo>
                    <a:pt x="1112520" y="426720"/>
                  </a:lnTo>
                  <a:lnTo>
                    <a:pt x="1021080" y="381000"/>
                  </a:lnTo>
                  <a:lnTo>
                    <a:pt x="899160" y="373380"/>
                  </a:lnTo>
                  <a:lnTo>
                    <a:pt x="769620" y="182880"/>
                  </a:lnTo>
                  <a:lnTo>
                    <a:pt x="640080" y="175260"/>
                  </a:lnTo>
                  <a:lnTo>
                    <a:pt x="480060" y="0"/>
                  </a:lnTo>
                  <a:lnTo>
                    <a:pt x="419100" y="0"/>
                  </a:lnTo>
                  <a:lnTo>
                    <a:pt x="190500" y="53340"/>
                  </a:lnTo>
                  <a:lnTo>
                    <a:pt x="83820" y="381000"/>
                  </a:lnTo>
                  <a:lnTo>
                    <a:pt x="91440" y="464820"/>
                  </a:lnTo>
                  <a:lnTo>
                    <a:pt x="45720" y="601980"/>
                  </a:lnTo>
                  <a:lnTo>
                    <a:pt x="0" y="685800"/>
                  </a:lnTo>
                  <a:lnTo>
                    <a:pt x="7620" y="777240"/>
                  </a:lnTo>
                  <a:lnTo>
                    <a:pt x="114300" y="777240"/>
                  </a:lnTo>
                  <a:lnTo>
                    <a:pt x="68580" y="830580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8" name="Freeform 167"/>
            <p:cNvSpPr/>
            <p:nvPr/>
          </p:nvSpPr>
          <p:spPr>
            <a:xfrm>
              <a:off x="3880638" y="2924424"/>
              <a:ext cx="423032" cy="374210"/>
            </a:xfrm>
            <a:custGeom>
              <a:avLst/>
              <a:gdLst>
                <a:gd name="connsiteX0" fmla="*/ 647700 w 838200"/>
                <a:gd name="connsiteY0" fmla="*/ 815340 h 883920"/>
                <a:gd name="connsiteX1" fmla="*/ 693420 w 838200"/>
                <a:gd name="connsiteY1" fmla="*/ 769620 h 883920"/>
                <a:gd name="connsiteX2" fmla="*/ 662940 w 838200"/>
                <a:gd name="connsiteY2" fmla="*/ 678180 h 883920"/>
                <a:gd name="connsiteX3" fmla="*/ 685800 w 838200"/>
                <a:gd name="connsiteY3" fmla="*/ 655320 h 883920"/>
                <a:gd name="connsiteX4" fmla="*/ 708660 w 838200"/>
                <a:gd name="connsiteY4" fmla="*/ 533400 h 883920"/>
                <a:gd name="connsiteX5" fmla="*/ 792480 w 838200"/>
                <a:gd name="connsiteY5" fmla="*/ 480060 h 883920"/>
                <a:gd name="connsiteX6" fmla="*/ 815340 w 838200"/>
                <a:gd name="connsiteY6" fmla="*/ 441960 h 883920"/>
                <a:gd name="connsiteX7" fmla="*/ 800100 w 838200"/>
                <a:gd name="connsiteY7" fmla="*/ 350520 h 883920"/>
                <a:gd name="connsiteX8" fmla="*/ 777240 w 838200"/>
                <a:gd name="connsiteY8" fmla="*/ 274320 h 883920"/>
                <a:gd name="connsiteX9" fmla="*/ 838200 w 838200"/>
                <a:gd name="connsiteY9" fmla="*/ 175260 h 883920"/>
                <a:gd name="connsiteX10" fmla="*/ 647700 w 838200"/>
                <a:gd name="connsiteY10" fmla="*/ 190500 h 883920"/>
                <a:gd name="connsiteX11" fmla="*/ 495300 w 838200"/>
                <a:gd name="connsiteY11" fmla="*/ 121920 h 883920"/>
                <a:gd name="connsiteX12" fmla="*/ 350520 w 838200"/>
                <a:gd name="connsiteY12" fmla="*/ 114300 h 883920"/>
                <a:gd name="connsiteX13" fmla="*/ 312420 w 838200"/>
                <a:gd name="connsiteY13" fmla="*/ 22860 h 883920"/>
                <a:gd name="connsiteX14" fmla="*/ 213360 w 838200"/>
                <a:gd name="connsiteY14" fmla="*/ 38100 h 883920"/>
                <a:gd name="connsiteX15" fmla="*/ 205740 w 838200"/>
                <a:gd name="connsiteY15" fmla="*/ 0 h 883920"/>
                <a:gd name="connsiteX16" fmla="*/ 0 w 838200"/>
                <a:gd name="connsiteY16" fmla="*/ 22860 h 883920"/>
                <a:gd name="connsiteX17" fmla="*/ 106680 w 838200"/>
                <a:gd name="connsiteY17" fmla="*/ 251460 h 883920"/>
                <a:gd name="connsiteX18" fmla="*/ 175260 w 838200"/>
                <a:gd name="connsiteY18" fmla="*/ 579120 h 883920"/>
                <a:gd name="connsiteX19" fmla="*/ 198120 w 838200"/>
                <a:gd name="connsiteY19" fmla="*/ 662940 h 883920"/>
                <a:gd name="connsiteX20" fmla="*/ 304800 w 838200"/>
                <a:gd name="connsiteY20" fmla="*/ 845820 h 883920"/>
                <a:gd name="connsiteX21" fmla="*/ 472440 w 838200"/>
                <a:gd name="connsiteY21" fmla="*/ 868680 h 883920"/>
                <a:gd name="connsiteX22" fmla="*/ 533400 w 838200"/>
                <a:gd name="connsiteY22" fmla="*/ 883920 h 883920"/>
                <a:gd name="connsiteX23" fmla="*/ 647700 w 838200"/>
                <a:gd name="connsiteY23" fmla="*/ 815340 h 883920"/>
                <a:gd name="connsiteX0" fmla="*/ 647700 w 845820"/>
                <a:gd name="connsiteY0" fmla="*/ 815340 h 883920"/>
                <a:gd name="connsiteX1" fmla="*/ 693420 w 845820"/>
                <a:gd name="connsiteY1" fmla="*/ 769620 h 883920"/>
                <a:gd name="connsiteX2" fmla="*/ 662940 w 845820"/>
                <a:gd name="connsiteY2" fmla="*/ 678180 h 883920"/>
                <a:gd name="connsiteX3" fmla="*/ 685800 w 845820"/>
                <a:gd name="connsiteY3" fmla="*/ 655320 h 883920"/>
                <a:gd name="connsiteX4" fmla="*/ 708660 w 845820"/>
                <a:gd name="connsiteY4" fmla="*/ 533400 h 883920"/>
                <a:gd name="connsiteX5" fmla="*/ 792480 w 845820"/>
                <a:gd name="connsiteY5" fmla="*/ 480060 h 883920"/>
                <a:gd name="connsiteX6" fmla="*/ 815340 w 845820"/>
                <a:gd name="connsiteY6" fmla="*/ 441960 h 883920"/>
                <a:gd name="connsiteX7" fmla="*/ 800100 w 845820"/>
                <a:gd name="connsiteY7" fmla="*/ 350520 h 883920"/>
                <a:gd name="connsiteX8" fmla="*/ 777240 w 845820"/>
                <a:gd name="connsiteY8" fmla="*/ 274320 h 883920"/>
                <a:gd name="connsiteX9" fmla="*/ 845820 w 845820"/>
                <a:gd name="connsiteY9" fmla="*/ 152400 h 883920"/>
                <a:gd name="connsiteX10" fmla="*/ 647700 w 845820"/>
                <a:gd name="connsiteY10" fmla="*/ 190500 h 883920"/>
                <a:gd name="connsiteX11" fmla="*/ 495300 w 845820"/>
                <a:gd name="connsiteY11" fmla="*/ 121920 h 883920"/>
                <a:gd name="connsiteX12" fmla="*/ 350520 w 845820"/>
                <a:gd name="connsiteY12" fmla="*/ 114300 h 883920"/>
                <a:gd name="connsiteX13" fmla="*/ 312420 w 845820"/>
                <a:gd name="connsiteY13" fmla="*/ 22860 h 883920"/>
                <a:gd name="connsiteX14" fmla="*/ 213360 w 845820"/>
                <a:gd name="connsiteY14" fmla="*/ 38100 h 883920"/>
                <a:gd name="connsiteX15" fmla="*/ 205740 w 845820"/>
                <a:gd name="connsiteY15" fmla="*/ 0 h 883920"/>
                <a:gd name="connsiteX16" fmla="*/ 0 w 845820"/>
                <a:gd name="connsiteY16" fmla="*/ 22860 h 883920"/>
                <a:gd name="connsiteX17" fmla="*/ 106680 w 845820"/>
                <a:gd name="connsiteY17" fmla="*/ 251460 h 883920"/>
                <a:gd name="connsiteX18" fmla="*/ 175260 w 845820"/>
                <a:gd name="connsiteY18" fmla="*/ 579120 h 883920"/>
                <a:gd name="connsiteX19" fmla="*/ 198120 w 845820"/>
                <a:gd name="connsiteY19" fmla="*/ 662940 h 883920"/>
                <a:gd name="connsiteX20" fmla="*/ 304800 w 845820"/>
                <a:gd name="connsiteY20" fmla="*/ 845820 h 883920"/>
                <a:gd name="connsiteX21" fmla="*/ 472440 w 845820"/>
                <a:gd name="connsiteY21" fmla="*/ 868680 h 883920"/>
                <a:gd name="connsiteX22" fmla="*/ 533400 w 845820"/>
                <a:gd name="connsiteY22" fmla="*/ 883920 h 883920"/>
                <a:gd name="connsiteX23" fmla="*/ 647700 w 845820"/>
                <a:gd name="connsiteY23" fmla="*/ 815340 h 883920"/>
                <a:gd name="connsiteX0" fmla="*/ 669925 w 868045"/>
                <a:gd name="connsiteY0" fmla="*/ 815340 h 883920"/>
                <a:gd name="connsiteX1" fmla="*/ 715645 w 868045"/>
                <a:gd name="connsiteY1" fmla="*/ 769620 h 883920"/>
                <a:gd name="connsiteX2" fmla="*/ 685165 w 868045"/>
                <a:gd name="connsiteY2" fmla="*/ 678180 h 883920"/>
                <a:gd name="connsiteX3" fmla="*/ 708025 w 868045"/>
                <a:gd name="connsiteY3" fmla="*/ 655320 h 883920"/>
                <a:gd name="connsiteX4" fmla="*/ 730885 w 868045"/>
                <a:gd name="connsiteY4" fmla="*/ 533400 h 883920"/>
                <a:gd name="connsiteX5" fmla="*/ 814705 w 868045"/>
                <a:gd name="connsiteY5" fmla="*/ 480060 h 883920"/>
                <a:gd name="connsiteX6" fmla="*/ 837565 w 868045"/>
                <a:gd name="connsiteY6" fmla="*/ 441960 h 883920"/>
                <a:gd name="connsiteX7" fmla="*/ 822325 w 868045"/>
                <a:gd name="connsiteY7" fmla="*/ 350520 h 883920"/>
                <a:gd name="connsiteX8" fmla="*/ 799465 w 868045"/>
                <a:gd name="connsiteY8" fmla="*/ 274320 h 883920"/>
                <a:gd name="connsiteX9" fmla="*/ 868045 w 868045"/>
                <a:gd name="connsiteY9" fmla="*/ 152400 h 883920"/>
                <a:gd name="connsiteX10" fmla="*/ 669925 w 868045"/>
                <a:gd name="connsiteY10" fmla="*/ 190500 h 883920"/>
                <a:gd name="connsiteX11" fmla="*/ 517525 w 868045"/>
                <a:gd name="connsiteY11" fmla="*/ 121920 h 883920"/>
                <a:gd name="connsiteX12" fmla="*/ 372745 w 868045"/>
                <a:gd name="connsiteY12" fmla="*/ 114300 h 883920"/>
                <a:gd name="connsiteX13" fmla="*/ 334645 w 868045"/>
                <a:gd name="connsiteY13" fmla="*/ 22860 h 883920"/>
                <a:gd name="connsiteX14" fmla="*/ 235585 w 868045"/>
                <a:gd name="connsiteY14" fmla="*/ 38100 h 883920"/>
                <a:gd name="connsiteX15" fmla="*/ 227965 w 868045"/>
                <a:gd name="connsiteY15" fmla="*/ 0 h 883920"/>
                <a:gd name="connsiteX16" fmla="*/ 0 w 868045"/>
                <a:gd name="connsiteY16" fmla="*/ 32385 h 883920"/>
                <a:gd name="connsiteX17" fmla="*/ 128905 w 868045"/>
                <a:gd name="connsiteY17" fmla="*/ 251460 h 883920"/>
                <a:gd name="connsiteX18" fmla="*/ 197485 w 868045"/>
                <a:gd name="connsiteY18" fmla="*/ 579120 h 883920"/>
                <a:gd name="connsiteX19" fmla="*/ 220345 w 868045"/>
                <a:gd name="connsiteY19" fmla="*/ 662940 h 883920"/>
                <a:gd name="connsiteX20" fmla="*/ 327025 w 868045"/>
                <a:gd name="connsiteY20" fmla="*/ 845820 h 883920"/>
                <a:gd name="connsiteX21" fmla="*/ 494665 w 868045"/>
                <a:gd name="connsiteY21" fmla="*/ 868680 h 883920"/>
                <a:gd name="connsiteX22" fmla="*/ 555625 w 868045"/>
                <a:gd name="connsiteY22" fmla="*/ 883920 h 883920"/>
                <a:gd name="connsiteX23" fmla="*/ 669925 w 868045"/>
                <a:gd name="connsiteY23" fmla="*/ 815340 h 883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68045" h="883920">
                  <a:moveTo>
                    <a:pt x="669925" y="815340"/>
                  </a:moveTo>
                  <a:lnTo>
                    <a:pt x="715645" y="769620"/>
                  </a:lnTo>
                  <a:lnTo>
                    <a:pt x="685165" y="678180"/>
                  </a:lnTo>
                  <a:lnTo>
                    <a:pt x="708025" y="655320"/>
                  </a:lnTo>
                  <a:lnTo>
                    <a:pt x="730885" y="533400"/>
                  </a:lnTo>
                  <a:lnTo>
                    <a:pt x="814705" y="480060"/>
                  </a:lnTo>
                  <a:lnTo>
                    <a:pt x="837565" y="441960"/>
                  </a:lnTo>
                  <a:lnTo>
                    <a:pt x="822325" y="350520"/>
                  </a:lnTo>
                  <a:lnTo>
                    <a:pt x="799465" y="274320"/>
                  </a:lnTo>
                  <a:lnTo>
                    <a:pt x="868045" y="152400"/>
                  </a:lnTo>
                  <a:lnTo>
                    <a:pt x="669925" y="190500"/>
                  </a:lnTo>
                  <a:lnTo>
                    <a:pt x="517525" y="121920"/>
                  </a:lnTo>
                  <a:lnTo>
                    <a:pt x="372745" y="114300"/>
                  </a:lnTo>
                  <a:lnTo>
                    <a:pt x="334645" y="22860"/>
                  </a:lnTo>
                  <a:lnTo>
                    <a:pt x="235585" y="38100"/>
                  </a:lnTo>
                  <a:lnTo>
                    <a:pt x="227965" y="0"/>
                  </a:lnTo>
                  <a:lnTo>
                    <a:pt x="0" y="32385"/>
                  </a:lnTo>
                  <a:lnTo>
                    <a:pt x="128905" y="251460"/>
                  </a:lnTo>
                  <a:lnTo>
                    <a:pt x="197485" y="579120"/>
                  </a:lnTo>
                  <a:lnTo>
                    <a:pt x="220345" y="662940"/>
                  </a:lnTo>
                  <a:lnTo>
                    <a:pt x="327025" y="845820"/>
                  </a:lnTo>
                  <a:lnTo>
                    <a:pt x="494665" y="868680"/>
                  </a:lnTo>
                  <a:lnTo>
                    <a:pt x="555625" y="883920"/>
                  </a:lnTo>
                  <a:lnTo>
                    <a:pt x="669925" y="81534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9" name="Freeform 168"/>
            <p:cNvSpPr/>
            <p:nvPr/>
          </p:nvSpPr>
          <p:spPr>
            <a:xfrm>
              <a:off x="4208976" y="2907758"/>
              <a:ext cx="629748" cy="405933"/>
            </a:xfrm>
            <a:custGeom>
              <a:avLst/>
              <a:gdLst>
                <a:gd name="connsiteX0" fmla="*/ 336550 w 1292225"/>
                <a:gd name="connsiteY0" fmla="*/ 825500 h 958850"/>
                <a:gd name="connsiteX1" fmla="*/ 488950 w 1292225"/>
                <a:gd name="connsiteY1" fmla="*/ 784225 h 958850"/>
                <a:gd name="connsiteX2" fmla="*/ 485775 w 1292225"/>
                <a:gd name="connsiteY2" fmla="*/ 717550 h 958850"/>
                <a:gd name="connsiteX3" fmla="*/ 479425 w 1292225"/>
                <a:gd name="connsiteY3" fmla="*/ 676275 h 958850"/>
                <a:gd name="connsiteX4" fmla="*/ 546100 w 1292225"/>
                <a:gd name="connsiteY4" fmla="*/ 650875 h 958850"/>
                <a:gd name="connsiteX5" fmla="*/ 631825 w 1292225"/>
                <a:gd name="connsiteY5" fmla="*/ 673100 h 958850"/>
                <a:gd name="connsiteX6" fmla="*/ 695325 w 1292225"/>
                <a:gd name="connsiteY6" fmla="*/ 742950 h 958850"/>
                <a:gd name="connsiteX7" fmla="*/ 733425 w 1292225"/>
                <a:gd name="connsiteY7" fmla="*/ 708025 h 958850"/>
                <a:gd name="connsiteX8" fmla="*/ 730250 w 1292225"/>
                <a:gd name="connsiteY8" fmla="*/ 561975 h 958850"/>
                <a:gd name="connsiteX9" fmla="*/ 908050 w 1292225"/>
                <a:gd name="connsiteY9" fmla="*/ 546100 h 958850"/>
                <a:gd name="connsiteX10" fmla="*/ 825500 w 1292225"/>
                <a:gd name="connsiteY10" fmla="*/ 492125 h 958850"/>
                <a:gd name="connsiteX11" fmla="*/ 844550 w 1292225"/>
                <a:gd name="connsiteY11" fmla="*/ 473075 h 958850"/>
                <a:gd name="connsiteX12" fmla="*/ 968375 w 1292225"/>
                <a:gd name="connsiteY12" fmla="*/ 520700 h 958850"/>
                <a:gd name="connsiteX13" fmla="*/ 936625 w 1292225"/>
                <a:gd name="connsiteY13" fmla="*/ 584200 h 958850"/>
                <a:gd name="connsiteX14" fmla="*/ 1006475 w 1292225"/>
                <a:gd name="connsiteY14" fmla="*/ 666750 h 958850"/>
                <a:gd name="connsiteX15" fmla="*/ 1162050 w 1292225"/>
                <a:gd name="connsiteY15" fmla="*/ 701675 h 958850"/>
                <a:gd name="connsiteX16" fmla="*/ 1292225 w 1292225"/>
                <a:gd name="connsiteY16" fmla="*/ 587375 h 958850"/>
                <a:gd name="connsiteX17" fmla="*/ 1143000 w 1292225"/>
                <a:gd name="connsiteY17" fmla="*/ 558800 h 958850"/>
                <a:gd name="connsiteX18" fmla="*/ 1054100 w 1292225"/>
                <a:gd name="connsiteY18" fmla="*/ 479425 h 958850"/>
                <a:gd name="connsiteX19" fmla="*/ 1060450 w 1292225"/>
                <a:gd name="connsiteY19" fmla="*/ 403225 h 958850"/>
                <a:gd name="connsiteX20" fmla="*/ 1025525 w 1292225"/>
                <a:gd name="connsiteY20" fmla="*/ 301625 h 958850"/>
                <a:gd name="connsiteX21" fmla="*/ 895350 w 1292225"/>
                <a:gd name="connsiteY21" fmla="*/ 336550 h 958850"/>
                <a:gd name="connsiteX22" fmla="*/ 777875 w 1292225"/>
                <a:gd name="connsiteY22" fmla="*/ 219075 h 958850"/>
                <a:gd name="connsiteX23" fmla="*/ 542925 w 1292225"/>
                <a:gd name="connsiteY23" fmla="*/ 146050 h 958850"/>
                <a:gd name="connsiteX24" fmla="*/ 488950 w 1292225"/>
                <a:gd name="connsiteY24" fmla="*/ 82550 h 958850"/>
                <a:gd name="connsiteX25" fmla="*/ 349250 w 1292225"/>
                <a:gd name="connsiteY25" fmla="*/ 82550 h 958850"/>
                <a:gd name="connsiteX26" fmla="*/ 292100 w 1292225"/>
                <a:gd name="connsiteY26" fmla="*/ 0 h 958850"/>
                <a:gd name="connsiteX27" fmla="*/ 158750 w 1292225"/>
                <a:gd name="connsiteY27" fmla="*/ 120650 h 958850"/>
                <a:gd name="connsiteX28" fmla="*/ 177800 w 1292225"/>
                <a:gd name="connsiteY28" fmla="*/ 177800 h 958850"/>
                <a:gd name="connsiteX29" fmla="*/ 196850 w 1292225"/>
                <a:gd name="connsiteY29" fmla="*/ 209550 h 958850"/>
                <a:gd name="connsiteX30" fmla="*/ 123825 w 1292225"/>
                <a:gd name="connsiteY30" fmla="*/ 311150 h 958850"/>
                <a:gd name="connsiteX31" fmla="*/ 165100 w 1292225"/>
                <a:gd name="connsiteY31" fmla="*/ 476250 h 958850"/>
                <a:gd name="connsiteX32" fmla="*/ 142875 w 1292225"/>
                <a:gd name="connsiteY32" fmla="*/ 514350 h 958850"/>
                <a:gd name="connsiteX33" fmla="*/ 53975 w 1292225"/>
                <a:gd name="connsiteY33" fmla="*/ 581025 h 958850"/>
                <a:gd name="connsiteX34" fmla="*/ 31750 w 1292225"/>
                <a:gd name="connsiteY34" fmla="*/ 682625 h 958850"/>
                <a:gd name="connsiteX35" fmla="*/ 9525 w 1292225"/>
                <a:gd name="connsiteY35" fmla="*/ 711200 h 958850"/>
                <a:gd name="connsiteX36" fmla="*/ 41275 w 1292225"/>
                <a:gd name="connsiteY36" fmla="*/ 812800 h 958850"/>
                <a:gd name="connsiteX37" fmla="*/ 0 w 1292225"/>
                <a:gd name="connsiteY37" fmla="*/ 857250 h 958850"/>
                <a:gd name="connsiteX38" fmla="*/ 117475 w 1292225"/>
                <a:gd name="connsiteY38" fmla="*/ 958850 h 958850"/>
                <a:gd name="connsiteX39" fmla="*/ 222250 w 1292225"/>
                <a:gd name="connsiteY39" fmla="*/ 949325 h 958850"/>
                <a:gd name="connsiteX40" fmla="*/ 336550 w 1292225"/>
                <a:gd name="connsiteY40" fmla="*/ 825500 h 958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292225" h="958850">
                  <a:moveTo>
                    <a:pt x="336550" y="825500"/>
                  </a:moveTo>
                  <a:lnTo>
                    <a:pt x="488950" y="784225"/>
                  </a:lnTo>
                  <a:lnTo>
                    <a:pt x="485775" y="717550"/>
                  </a:lnTo>
                  <a:lnTo>
                    <a:pt x="479425" y="676275"/>
                  </a:lnTo>
                  <a:lnTo>
                    <a:pt x="546100" y="650875"/>
                  </a:lnTo>
                  <a:lnTo>
                    <a:pt x="631825" y="673100"/>
                  </a:lnTo>
                  <a:lnTo>
                    <a:pt x="695325" y="742950"/>
                  </a:lnTo>
                  <a:lnTo>
                    <a:pt x="733425" y="708025"/>
                  </a:lnTo>
                  <a:cubicBezTo>
                    <a:pt x="732367" y="659342"/>
                    <a:pt x="731308" y="610658"/>
                    <a:pt x="730250" y="561975"/>
                  </a:cubicBezTo>
                  <a:lnTo>
                    <a:pt x="908050" y="546100"/>
                  </a:lnTo>
                  <a:lnTo>
                    <a:pt x="825500" y="492125"/>
                  </a:lnTo>
                  <a:lnTo>
                    <a:pt x="844550" y="473075"/>
                  </a:lnTo>
                  <a:lnTo>
                    <a:pt x="968375" y="520700"/>
                  </a:lnTo>
                  <a:lnTo>
                    <a:pt x="936625" y="584200"/>
                  </a:lnTo>
                  <a:lnTo>
                    <a:pt x="1006475" y="666750"/>
                  </a:lnTo>
                  <a:lnTo>
                    <a:pt x="1162050" y="701675"/>
                  </a:lnTo>
                  <a:lnTo>
                    <a:pt x="1292225" y="587375"/>
                  </a:lnTo>
                  <a:lnTo>
                    <a:pt x="1143000" y="558800"/>
                  </a:lnTo>
                  <a:lnTo>
                    <a:pt x="1054100" y="479425"/>
                  </a:lnTo>
                  <a:lnTo>
                    <a:pt x="1060450" y="403225"/>
                  </a:lnTo>
                  <a:lnTo>
                    <a:pt x="1025525" y="301625"/>
                  </a:lnTo>
                  <a:lnTo>
                    <a:pt x="895350" y="336550"/>
                  </a:lnTo>
                  <a:lnTo>
                    <a:pt x="777875" y="219075"/>
                  </a:lnTo>
                  <a:lnTo>
                    <a:pt x="542925" y="146050"/>
                  </a:lnTo>
                  <a:lnTo>
                    <a:pt x="488950" y="82550"/>
                  </a:lnTo>
                  <a:lnTo>
                    <a:pt x="349250" y="82550"/>
                  </a:lnTo>
                  <a:lnTo>
                    <a:pt x="292100" y="0"/>
                  </a:lnTo>
                  <a:lnTo>
                    <a:pt x="158750" y="120650"/>
                  </a:lnTo>
                  <a:lnTo>
                    <a:pt x="177800" y="177800"/>
                  </a:lnTo>
                  <a:lnTo>
                    <a:pt x="196850" y="209550"/>
                  </a:lnTo>
                  <a:lnTo>
                    <a:pt x="123825" y="311150"/>
                  </a:lnTo>
                  <a:lnTo>
                    <a:pt x="165100" y="476250"/>
                  </a:lnTo>
                  <a:lnTo>
                    <a:pt x="142875" y="514350"/>
                  </a:lnTo>
                  <a:lnTo>
                    <a:pt x="53975" y="581025"/>
                  </a:lnTo>
                  <a:lnTo>
                    <a:pt x="31750" y="682625"/>
                  </a:lnTo>
                  <a:lnTo>
                    <a:pt x="9525" y="711200"/>
                  </a:lnTo>
                  <a:lnTo>
                    <a:pt x="41275" y="812800"/>
                  </a:lnTo>
                  <a:lnTo>
                    <a:pt x="0" y="857250"/>
                  </a:lnTo>
                  <a:lnTo>
                    <a:pt x="117475" y="958850"/>
                  </a:lnTo>
                  <a:lnTo>
                    <a:pt x="222250" y="949325"/>
                  </a:lnTo>
                  <a:lnTo>
                    <a:pt x="336550" y="825500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0" name="Freeform 169"/>
            <p:cNvSpPr/>
            <p:nvPr/>
          </p:nvSpPr>
          <p:spPr>
            <a:xfrm>
              <a:off x="4380726" y="3106691"/>
              <a:ext cx="533817" cy="377705"/>
            </a:xfrm>
            <a:custGeom>
              <a:avLst/>
              <a:gdLst>
                <a:gd name="connsiteX0" fmla="*/ 419100 w 1095375"/>
                <a:gd name="connsiteY0" fmla="*/ 727075 h 892175"/>
                <a:gd name="connsiteX1" fmla="*/ 561975 w 1095375"/>
                <a:gd name="connsiteY1" fmla="*/ 863600 h 892175"/>
                <a:gd name="connsiteX2" fmla="*/ 561975 w 1095375"/>
                <a:gd name="connsiteY2" fmla="*/ 892175 h 892175"/>
                <a:gd name="connsiteX3" fmla="*/ 669925 w 1095375"/>
                <a:gd name="connsiteY3" fmla="*/ 885825 h 892175"/>
                <a:gd name="connsiteX4" fmla="*/ 762000 w 1095375"/>
                <a:gd name="connsiteY4" fmla="*/ 882650 h 892175"/>
                <a:gd name="connsiteX5" fmla="*/ 876300 w 1095375"/>
                <a:gd name="connsiteY5" fmla="*/ 765175 h 892175"/>
                <a:gd name="connsiteX6" fmla="*/ 1095375 w 1095375"/>
                <a:gd name="connsiteY6" fmla="*/ 644525 h 892175"/>
                <a:gd name="connsiteX7" fmla="*/ 996950 w 1095375"/>
                <a:gd name="connsiteY7" fmla="*/ 574675 h 892175"/>
                <a:gd name="connsiteX8" fmla="*/ 968375 w 1095375"/>
                <a:gd name="connsiteY8" fmla="*/ 498475 h 892175"/>
                <a:gd name="connsiteX9" fmla="*/ 917575 w 1095375"/>
                <a:gd name="connsiteY9" fmla="*/ 536575 h 892175"/>
                <a:gd name="connsiteX10" fmla="*/ 879475 w 1095375"/>
                <a:gd name="connsiteY10" fmla="*/ 511175 h 892175"/>
                <a:gd name="connsiteX11" fmla="*/ 844550 w 1095375"/>
                <a:gd name="connsiteY11" fmla="*/ 530225 h 892175"/>
                <a:gd name="connsiteX12" fmla="*/ 825500 w 1095375"/>
                <a:gd name="connsiteY12" fmla="*/ 457200 h 892175"/>
                <a:gd name="connsiteX13" fmla="*/ 784225 w 1095375"/>
                <a:gd name="connsiteY13" fmla="*/ 396875 h 892175"/>
                <a:gd name="connsiteX14" fmla="*/ 793750 w 1095375"/>
                <a:gd name="connsiteY14" fmla="*/ 238125 h 892175"/>
                <a:gd name="connsiteX15" fmla="*/ 654050 w 1095375"/>
                <a:gd name="connsiteY15" fmla="*/ 203200 h 892175"/>
                <a:gd name="connsiteX16" fmla="*/ 581025 w 1095375"/>
                <a:gd name="connsiteY16" fmla="*/ 107950 h 892175"/>
                <a:gd name="connsiteX17" fmla="*/ 609600 w 1095375"/>
                <a:gd name="connsiteY17" fmla="*/ 53975 h 892175"/>
                <a:gd name="connsiteX18" fmla="*/ 495300 w 1095375"/>
                <a:gd name="connsiteY18" fmla="*/ 0 h 892175"/>
                <a:gd name="connsiteX19" fmla="*/ 552450 w 1095375"/>
                <a:gd name="connsiteY19" fmla="*/ 73025 h 892175"/>
                <a:gd name="connsiteX20" fmla="*/ 390525 w 1095375"/>
                <a:gd name="connsiteY20" fmla="*/ 82550 h 892175"/>
                <a:gd name="connsiteX21" fmla="*/ 387350 w 1095375"/>
                <a:gd name="connsiteY21" fmla="*/ 231775 h 892175"/>
                <a:gd name="connsiteX22" fmla="*/ 339725 w 1095375"/>
                <a:gd name="connsiteY22" fmla="*/ 269875 h 892175"/>
                <a:gd name="connsiteX23" fmla="*/ 292100 w 1095375"/>
                <a:gd name="connsiteY23" fmla="*/ 212725 h 892175"/>
                <a:gd name="connsiteX24" fmla="*/ 203200 w 1095375"/>
                <a:gd name="connsiteY24" fmla="*/ 165100 h 892175"/>
                <a:gd name="connsiteX25" fmla="*/ 136525 w 1095375"/>
                <a:gd name="connsiteY25" fmla="*/ 200025 h 892175"/>
                <a:gd name="connsiteX26" fmla="*/ 127000 w 1095375"/>
                <a:gd name="connsiteY26" fmla="*/ 311150 h 892175"/>
                <a:gd name="connsiteX27" fmla="*/ 0 w 1095375"/>
                <a:gd name="connsiteY27" fmla="*/ 346075 h 892175"/>
                <a:gd name="connsiteX28" fmla="*/ 114300 w 1095375"/>
                <a:gd name="connsiteY28" fmla="*/ 384175 h 892175"/>
                <a:gd name="connsiteX29" fmla="*/ 196850 w 1095375"/>
                <a:gd name="connsiteY29" fmla="*/ 508000 h 892175"/>
                <a:gd name="connsiteX30" fmla="*/ 193675 w 1095375"/>
                <a:gd name="connsiteY30" fmla="*/ 558800 h 892175"/>
                <a:gd name="connsiteX31" fmla="*/ 282575 w 1095375"/>
                <a:gd name="connsiteY31" fmla="*/ 615950 h 892175"/>
                <a:gd name="connsiteX32" fmla="*/ 419100 w 1095375"/>
                <a:gd name="connsiteY32" fmla="*/ 727075 h 89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95375" h="892175">
                  <a:moveTo>
                    <a:pt x="419100" y="727075"/>
                  </a:moveTo>
                  <a:lnTo>
                    <a:pt x="561975" y="863600"/>
                  </a:lnTo>
                  <a:lnTo>
                    <a:pt x="561975" y="892175"/>
                  </a:lnTo>
                  <a:lnTo>
                    <a:pt x="669925" y="885825"/>
                  </a:lnTo>
                  <a:lnTo>
                    <a:pt x="762000" y="882650"/>
                  </a:lnTo>
                  <a:lnTo>
                    <a:pt x="876300" y="765175"/>
                  </a:lnTo>
                  <a:lnTo>
                    <a:pt x="1095375" y="644525"/>
                  </a:lnTo>
                  <a:lnTo>
                    <a:pt x="996950" y="574675"/>
                  </a:lnTo>
                  <a:lnTo>
                    <a:pt x="968375" y="498475"/>
                  </a:lnTo>
                  <a:lnTo>
                    <a:pt x="917575" y="536575"/>
                  </a:lnTo>
                  <a:lnTo>
                    <a:pt x="879475" y="511175"/>
                  </a:lnTo>
                  <a:lnTo>
                    <a:pt x="844550" y="530225"/>
                  </a:lnTo>
                  <a:lnTo>
                    <a:pt x="825500" y="457200"/>
                  </a:lnTo>
                  <a:lnTo>
                    <a:pt x="784225" y="396875"/>
                  </a:lnTo>
                  <a:lnTo>
                    <a:pt x="793750" y="238125"/>
                  </a:lnTo>
                  <a:lnTo>
                    <a:pt x="654050" y="203200"/>
                  </a:lnTo>
                  <a:lnTo>
                    <a:pt x="581025" y="107950"/>
                  </a:lnTo>
                  <a:lnTo>
                    <a:pt x="609600" y="53975"/>
                  </a:lnTo>
                  <a:lnTo>
                    <a:pt x="495300" y="0"/>
                  </a:lnTo>
                  <a:lnTo>
                    <a:pt x="552450" y="73025"/>
                  </a:lnTo>
                  <a:lnTo>
                    <a:pt x="390525" y="82550"/>
                  </a:lnTo>
                  <a:cubicBezTo>
                    <a:pt x="389467" y="132292"/>
                    <a:pt x="388408" y="182033"/>
                    <a:pt x="387350" y="231775"/>
                  </a:cubicBezTo>
                  <a:lnTo>
                    <a:pt x="339725" y="269875"/>
                  </a:lnTo>
                  <a:lnTo>
                    <a:pt x="292100" y="212725"/>
                  </a:lnTo>
                  <a:lnTo>
                    <a:pt x="203200" y="165100"/>
                  </a:lnTo>
                  <a:lnTo>
                    <a:pt x="136525" y="200025"/>
                  </a:lnTo>
                  <a:lnTo>
                    <a:pt x="127000" y="311150"/>
                  </a:lnTo>
                  <a:lnTo>
                    <a:pt x="0" y="346075"/>
                  </a:lnTo>
                  <a:lnTo>
                    <a:pt x="114300" y="384175"/>
                  </a:lnTo>
                  <a:lnTo>
                    <a:pt x="196850" y="508000"/>
                  </a:lnTo>
                  <a:lnTo>
                    <a:pt x="193675" y="558800"/>
                  </a:lnTo>
                  <a:lnTo>
                    <a:pt x="282575" y="615950"/>
                  </a:lnTo>
                  <a:lnTo>
                    <a:pt x="419100" y="727075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1" name="Freeform 170"/>
            <p:cNvSpPr/>
            <p:nvPr/>
          </p:nvSpPr>
          <p:spPr>
            <a:xfrm>
              <a:off x="3662778" y="3414501"/>
              <a:ext cx="304818" cy="267483"/>
            </a:xfrm>
            <a:custGeom>
              <a:avLst/>
              <a:gdLst>
                <a:gd name="connsiteX0" fmla="*/ 625475 w 625475"/>
                <a:gd name="connsiteY0" fmla="*/ 460375 h 631825"/>
                <a:gd name="connsiteX1" fmla="*/ 612775 w 625475"/>
                <a:gd name="connsiteY1" fmla="*/ 409575 h 631825"/>
                <a:gd name="connsiteX2" fmla="*/ 619125 w 625475"/>
                <a:gd name="connsiteY2" fmla="*/ 365125 h 631825"/>
                <a:gd name="connsiteX3" fmla="*/ 555625 w 625475"/>
                <a:gd name="connsiteY3" fmla="*/ 371475 h 631825"/>
                <a:gd name="connsiteX4" fmla="*/ 558800 w 625475"/>
                <a:gd name="connsiteY4" fmla="*/ 317500 h 631825"/>
                <a:gd name="connsiteX5" fmla="*/ 590550 w 625475"/>
                <a:gd name="connsiteY5" fmla="*/ 292100 h 631825"/>
                <a:gd name="connsiteX6" fmla="*/ 555625 w 625475"/>
                <a:gd name="connsiteY6" fmla="*/ 241300 h 631825"/>
                <a:gd name="connsiteX7" fmla="*/ 584200 w 625475"/>
                <a:gd name="connsiteY7" fmla="*/ 123825 h 631825"/>
                <a:gd name="connsiteX8" fmla="*/ 622300 w 625475"/>
                <a:gd name="connsiteY8" fmla="*/ 95250 h 631825"/>
                <a:gd name="connsiteX9" fmla="*/ 571500 w 625475"/>
                <a:gd name="connsiteY9" fmla="*/ 79375 h 631825"/>
                <a:gd name="connsiteX10" fmla="*/ 571500 w 625475"/>
                <a:gd name="connsiteY10" fmla="*/ 25400 h 631825"/>
                <a:gd name="connsiteX11" fmla="*/ 520700 w 625475"/>
                <a:gd name="connsiteY11" fmla="*/ 12700 h 631825"/>
                <a:gd name="connsiteX12" fmla="*/ 415925 w 625475"/>
                <a:gd name="connsiteY12" fmla="*/ 73025 h 631825"/>
                <a:gd name="connsiteX13" fmla="*/ 342900 w 625475"/>
                <a:gd name="connsiteY13" fmla="*/ 0 h 631825"/>
                <a:gd name="connsiteX14" fmla="*/ 200025 w 625475"/>
                <a:gd name="connsiteY14" fmla="*/ 92075 h 631825"/>
                <a:gd name="connsiteX15" fmla="*/ 0 w 625475"/>
                <a:gd name="connsiteY15" fmla="*/ 142875 h 631825"/>
                <a:gd name="connsiteX16" fmla="*/ 133350 w 625475"/>
                <a:gd name="connsiteY16" fmla="*/ 168275 h 631825"/>
                <a:gd name="connsiteX17" fmla="*/ 12700 w 625475"/>
                <a:gd name="connsiteY17" fmla="*/ 279400 h 631825"/>
                <a:gd name="connsiteX18" fmla="*/ 41275 w 625475"/>
                <a:gd name="connsiteY18" fmla="*/ 390525 h 631825"/>
                <a:gd name="connsiteX19" fmla="*/ 0 w 625475"/>
                <a:gd name="connsiteY19" fmla="*/ 476250 h 631825"/>
                <a:gd name="connsiteX20" fmla="*/ 28575 w 625475"/>
                <a:gd name="connsiteY20" fmla="*/ 600075 h 631825"/>
                <a:gd name="connsiteX21" fmla="*/ 168275 w 625475"/>
                <a:gd name="connsiteY21" fmla="*/ 631825 h 631825"/>
                <a:gd name="connsiteX22" fmla="*/ 282575 w 625475"/>
                <a:gd name="connsiteY22" fmla="*/ 549275 h 631825"/>
                <a:gd name="connsiteX23" fmla="*/ 292100 w 625475"/>
                <a:gd name="connsiteY23" fmla="*/ 603250 h 631825"/>
                <a:gd name="connsiteX24" fmla="*/ 396875 w 625475"/>
                <a:gd name="connsiteY24" fmla="*/ 600075 h 631825"/>
                <a:gd name="connsiteX25" fmla="*/ 463550 w 625475"/>
                <a:gd name="connsiteY25" fmla="*/ 533400 h 631825"/>
                <a:gd name="connsiteX26" fmla="*/ 492125 w 625475"/>
                <a:gd name="connsiteY26" fmla="*/ 546100 h 631825"/>
                <a:gd name="connsiteX27" fmla="*/ 600075 w 625475"/>
                <a:gd name="connsiteY27" fmla="*/ 514350 h 631825"/>
                <a:gd name="connsiteX28" fmla="*/ 625475 w 625475"/>
                <a:gd name="connsiteY28" fmla="*/ 460375 h 631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5475" h="631825">
                  <a:moveTo>
                    <a:pt x="625475" y="460375"/>
                  </a:moveTo>
                  <a:lnTo>
                    <a:pt x="612775" y="409575"/>
                  </a:lnTo>
                  <a:lnTo>
                    <a:pt x="619125" y="365125"/>
                  </a:lnTo>
                  <a:lnTo>
                    <a:pt x="555625" y="371475"/>
                  </a:lnTo>
                  <a:lnTo>
                    <a:pt x="558800" y="317500"/>
                  </a:lnTo>
                  <a:lnTo>
                    <a:pt x="590550" y="292100"/>
                  </a:lnTo>
                  <a:lnTo>
                    <a:pt x="555625" y="241300"/>
                  </a:lnTo>
                  <a:lnTo>
                    <a:pt x="584200" y="123825"/>
                  </a:lnTo>
                  <a:lnTo>
                    <a:pt x="622300" y="95250"/>
                  </a:lnTo>
                  <a:lnTo>
                    <a:pt x="571500" y="79375"/>
                  </a:lnTo>
                  <a:lnTo>
                    <a:pt x="571500" y="25400"/>
                  </a:lnTo>
                  <a:lnTo>
                    <a:pt x="520700" y="12700"/>
                  </a:lnTo>
                  <a:lnTo>
                    <a:pt x="415925" y="73025"/>
                  </a:lnTo>
                  <a:lnTo>
                    <a:pt x="342900" y="0"/>
                  </a:lnTo>
                  <a:lnTo>
                    <a:pt x="200025" y="92075"/>
                  </a:lnTo>
                  <a:lnTo>
                    <a:pt x="0" y="142875"/>
                  </a:lnTo>
                  <a:lnTo>
                    <a:pt x="133350" y="168275"/>
                  </a:lnTo>
                  <a:lnTo>
                    <a:pt x="12700" y="279400"/>
                  </a:lnTo>
                  <a:lnTo>
                    <a:pt x="41275" y="390525"/>
                  </a:lnTo>
                  <a:lnTo>
                    <a:pt x="0" y="476250"/>
                  </a:lnTo>
                  <a:lnTo>
                    <a:pt x="28575" y="600075"/>
                  </a:lnTo>
                  <a:lnTo>
                    <a:pt x="168275" y="631825"/>
                  </a:lnTo>
                  <a:lnTo>
                    <a:pt x="282575" y="549275"/>
                  </a:lnTo>
                  <a:lnTo>
                    <a:pt x="292100" y="603250"/>
                  </a:lnTo>
                  <a:lnTo>
                    <a:pt x="396875" y="600075"/>
                  </a:lnTo>
                  <a:lnTo>
                    <a:pt x="463550" y="533400"/>
                  </a:lnTo>
                  <a:lnTo>
                    <a:pt x="492125" y="546100"/>
                  </a:lnTo>
                  <a:lnTo>
                    <a:pt x="600075" y="514350"/>
                  </a:lnTo>
                  <a:lnTo>
                    <a:pt x="625475" y="460375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2" name="Freeform 171"/>
            <p:cNvSpPr/>
            <p:nvPr/>
          </p:nvSpPr>
          <p:spPr>
            <a:xfrm>
              <a:off x="3927369" y="3335193"/>
              <a:ext cx="564763" cy="337379"/>
            </a:xfrm>
            <a:custGeom>
              <a:avLst/>
              <a:gdLst>
                <a:gd name="connsiteX0" fmla="*/ 336550 w 1158875"/>
                <a:gd name="connsiteY0" fmla="*/ 796925 h 796925"/>
                <a:gd name="connsiteX1" fmla="*/ 530225 w 1158875"/>
                <a:gd name="connsiteY1" fmla="*/ 723900 h 796925"/>
                <a:gd name="connsiteX2" fmla="*/ 581025 w 1158875"/>
                <a:gd name="connsiteY2" fmla="*/ 762000 h 796925"/>
                <a:gd name="connsiteX3" fmla="*/ 596900 w 1158875"/>
                <a:gd name="connsiteY3" fmla="*/ 730250 h 796925"/>
                <a:gd name="connsiteX4" fmla="*/ 600075 w 1158875"/>
                <a:gd name="connsiteY4" fmla="*/ 669925 h 796925"/>
                <a:gd name="connsiteX5" fmla="*/ 755650 w 1158875"/>
                <a:gd name="connsiteY5" fmla="*/ 593725 h 796925"/>
                <a:gd name="connsiteX6" fmla="*/ 654050 w 1158875"/>
                <a:gd name="connsiteY6" fmla="*/ 571500 h 796925"/>
                <a:gd name="connsiteX7" fmla="*/ 663575 w 1158875"/>
                <a:gd name="connsiteY7" fmla="*/ 536575 h 796925"/>
                <a:gd name="connsiteX8" fmla="*/ 793750 w 1158875"/>
                <a:gd name="connsiteY8" fmla="*/ 514350 h 796925"/>
                <a:gd name="connsiteX9" fmla="*/ 822325 w 1158875"/>
                <a:gd name="connsiteY9" fmla="*/ 387350 h 796925"/>
                <a:gd name="connsiteX10" fmla="*/ 809625 w 1158875"/>
                <a:gd name="connsiteY10" fmla="*/ 355600 h 796925"/>
                <a:gd name="connsiteX11" fmla="*/ 841375 w 1158875"/>
                <a:gd name="connsiteY11" fmla="*/ 288925 h 796925"/>
                <a:gd name="connsiteX12" fmla="*/ 930275 w 1158875"/>
                <a:gd name="connsiteY12" fmla="*/ 304800 h 796925"/>
                <a:gd name="connsiteX13" fmla="*/ 968375 w 1158875"/>
                <a:gd name="connsiteY13" fmla="*/ 361950 h 796925"/>
                <a:gd name="connsiteX14" fmla="*/ 1158875 w 1158875"/>
                <a:gd name="connsiteY14" fmla="*/ 355600 h 796925"/>
                <a:gd name="connsiteX15" fmla="*/ 831850 w 1158875"/>
                <a:gd name="connsiteY15" fmla="*/ 155575 h 796925"/>
                <a:gd name="connsiteX16" fmla="*/ 727075 w 1158875"/>
                <a:gd name="connsiteY16" fmla="*/ 254000 h 796925"/>
                <a:gd name="connsiteX17" fmla="*/ 638175 w 1158875"/>
                <a:gd name="connsiteY17" fmla="*/ 50800 h 796925"/>
                <a:gd name="connsiteX18" fmla="*/ 342900 w 1158875"/>
                <a:gd name="connsiteY18" fmla="*/ 0 h 796925"/>
                <a:gd name="connsiteX19" fmla="*/ 269875 w 1158875"/>
                <a:gd name="connsiteY19" fmla="*/ 82550 h 796925"/>
                <a:gd name="connsiteX20" fmla="*/ 107950 w 1158875"/>
                <a:gd name="connsiteY20" fmla="*/ 34925 h 796925"/>
                <a:gd name="connsiteX21" fmla="*/ 66675 w 1158875"/>
                <a:gd name="connsiteY21" fmla="*/ 85725 h 796925"/>
                <a:gd name="connsiteX22" fmla="*/ 79375 w 1158875"/>
                <a:gd name="connsiteY22" fmla="*/ 161925 h 796925"/>
                <a:gd name="connsiteX23" fmla="*/ 66675 w 1158875"/>
                <a:gd name="connsiteY23" fmla="*/ 222250 h 796925"/>
                <a:gd name="connsiteX24" fmla="*/ 28575 w 1158875"/>
                <a:gd name="connsiteY24" fmla="*/ 206375 h 796925"/>
                <a:gd name="connsiteX25" fmla="*/ 15875 w 1158875"/>
                <a:gd name="connsiteY25" fmla="*/ 276225 h 796925"/>
                <a:gd name="connsiteX26" fmla="*/ 76200 w 1158875"/>
                <a:gd name="connsiteY26" fmla="*/ 285750 h 796925"/>
                <a:gd name="connsiteX27" fmla="*/ 34925 w 1158875"/>
                <a:gd name="connsiteY27" fmla="*/ 301625 h 796925"/>
                <a:gd name="connsiteX28" fmla="*/ 0 w 1158875"/>
                <a:gd name="connsiteY28" fmla="*/ 419100 h 796925"/>
                <a:gd name="connsiteX29" fmla="*/ 50800 w 1158875"/>
                <a:gd name="connsiteY29" fmla="*/ 485775 h 796925"/>
                <a:gd name="connsiteX30" fmla="*/ 3175 w 1158875"/>
                <a:gd name="connsiteY30" fmla="*/ 504825 h 796925"/>
                <a:gd name="connsiteX31" fmla="*/ 9525 w 1158875"/>
                <a:gd name="connsiteY31" fmla="*/ 558800 h 796925"/>
                <a:gd name="connsiteX32" fmla="*/ 79375 w 1158875"/>
                <a:gd name="connsiteY32" fmla="*/ 558800 h 796925"/>
                <a:gd name="connsiteX33" fmla="*/ 66675 w 1158875"/>
                <a:gd name="connsiteY33" fmla="*/ 587375 h 796925"/>
                <a:gd name="connsiteX34" fmla="*/ 76200 w 1158875"/>
                <a:gd name="connsiteY34" fmla="*/ 650875 h 796925"/>
                <a:gd name="connsiteX35" fmla="*/ 107950 w 1158875"/>
                <a:gd name="connsiteY35" fmla="*/ 682625 h 796925"/>
                <a:gd name="connsiteX36" fmla="*/ 209550 w 1158875"/>
                <a:gd name="connsiteY36" fmla="*/ 676275 h 796925"/>
                <a:gd name="connsiteX37" fmla="*/ 276225 w 1158875"/>
                <a:gd name="connsiteY37" fmla="*/ 711200 h 796925"/>
                <a:gd name="connsiteX38" fmla="*/ 336550 w 1158875"/>
                <a:gd name="connsiteY38" fmla="*/ 796925 h 7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158875" h="796925">
                  <a:moveTo>
                    <a:pt x="336550" y="796925"/>
                  </a:moveTo>
                  <a:lnTo>
                    <a:pt x="530225" y="723900"/>
                  </a:lnTo>
                  <a:lnTo>
                    <a:pt x="581025" y="762000"/>
                  </a:lnTo>
                  <a:lnTo>
                    <a:pt x="596900" y="730250"/>
                  </a:lnTo>
                  <a:lnTo>
                    <a:pt x="600075" y="669925"/>
                  </a:lnTo>
                  <a:lnTo>
                    <a:pt x="755650" y="593725"/>
                  </a:lnTo>
                  <a:lnTo>
                    <a:pt x="654050" y="571500"/>
                  </a:lnTo>
                  <a:lnTo>
                    <a:pt x="663575" y="536575"/>
                  </a:lnTo>
                  <a:lnTo>
                    <a:pt x="793750" y="514350"/>
                  </a:lnTo>
                  <a:lnTo>
                    <a:pt x="822325" y="387350"/>
                  </a:lnTo>
                  <a:lnTo>
                    <a:pt x="809625" y="355600"/>
                  </a:lnTo>
                  <a:lnTo>
                    <a:pt x="841375" y="288925"/>
                  </a:lnTo>
                  <a:lnTo>
                    <a:pt x="930275" y="304800"/>
                  </a:lnTo>
                  <a:lnTo>
                    <a:pt x="968375" y="361950"/>
                  </a:lnTo>
                  <a:lnTo>
                    <a:pt x="1158875" y="355600"/>
                  </a:lnTo>
                  <a:lnTo>
                    <a:pt x="831850" y="155575"/>
                  </a:lnTo>
                  <a:lnTo>
                    <a:pt x="727075" y="254000"/>
                  </a:lnTo>
                  <a:lnTo>
                    <a:pt x="638175" y="50800"/>
                  </a:lnTo>
                  <a:lnTo>
                    <a:pt x="342900" y="0"/>
                  </a:lnTo>
                  <a:lnTo>
                    <a:pt x="269875" y="82550"/>
                  </a:lnTo>
                  <a:lnTo>
                    <a:pt x="107950" y="34925"/>
                  </a:lnTo>
                  <a:lnTo>
                    <a:pt x="66675" y="85725"/>
                  </a:lnTo>
                  <a:lnTo>
                    <a:pt x="79375" y="161925"/>
                  </a:lnTo>
                  <a:lnTo>
                    <a:pt x="66675" y="222250"/>
                  </a:lnTo>
                  <a:lnTo>
                    <a:pt x="28575" y="206375"/>
                  </a:lnTo>
                  <a:lnTo>
                    <a:pt x="15875" y="276225"/>
                  </a:lnTo>
                  <a:lnTo>
                    <a:pt x="76200" y="285750"/>
                  </a:lnTo>
                  <a:lnTo>
                    <a:pt x="34925" y="301625"/>
                  </a:lnTo>
                  <a:lnTo>
                    <a:pt x="0" y="419100"/>
                  </a:lnTo>
                  <a:lnTo>
                    <a:pt x="50800" y="485775"/>
                  </a:lnTo>
                  <a:lnTo>
                    <a:pt x="3175" y="504825"/>
                  </a:lnTo>
                  <a:lnTo>
                    <a:pt x="9525" y="558800"/>
                  </a:lnTo>
                  <a:lnTo>
                    <a:pt x="79375" y="558800"/>
                  </a:lnTo>
                  <a:lnTo>
                    <a:pt x="66675" y="587375"/>
                  </a:lnTo>
                  <a:lnTo>
                    <a:pt x="76200" y="650875"/>
                  </a:lnTo>
                  <a:lnTo>
                    <a:pt x="107950" y="682625"/>
                  </a:lnTo>
                  <a:lnTo>
                    <a:pt x="209550" y="676275"/>
                  </a:lnTo>
                  <a:lnTo>
                    <a:pt x="276225" y="711200"/>
                  </a:lnTo>
                  <a:lnTo>
                    <a:pt x="336550" y="796925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3" name="Freeform 172"/>
            <p:cNvSpPr/>
            <p:nvPr/>
          </p:nvSpPr>
          <p:spPr>
            <a:xfrm>
              <a:off x="3987713" y="3577143"/>
              <a:ext cx="583331" cy="395180"/>
            </a:xfrm>
            <a:custGeom>
              <a:avLst/>
              <a:gdLst>
                <a:gd name="connsiteX0" fmla="*/ 168275 w 1196975"/>
                <a:gd name="connsiteY0" fmla="*/ 898525 h 933450"/>
                <a:gd name="connsiteX1" fmla="*/ 257175 w 1196975"/>
                <a:gd name="connsiteY1" fmla="*/ 923925 h 933450"/>
                <a:gd name="connsiteX2" fmla="*/ 355600 w 1196975"/>
                <a:gd name="connsiteY2" fmla="*/ 911225 h 933450"/>
                <a:gd name="connsiteX3" fmla="*/ 396875 w 1196975"/>
                <a:gd name="connsiteY3" fmla="*/ 933450 h 933450"/>
                <a:gd name="connsiteX4" fmla="*/ 463550 w 1196975"/>
                <a:gd name="connsiteY4" fmla="*/ 895350 h 933450"/>
                <a:gd name="connsiteX5" fmla="*/ 495300 w 1196975"/>
                <a:gd name="connsiteY5" fmla="*/ 841375 h 933450"/>
                <a:gd name="connsiteX6" fmla="*/ 552450 w 1196975"/>
                <a:gd name="connsiteY6" fmla="*/ 866775 h 933450"/>
                <a:gd name="connsiteX7" fmla="*/ 622300 w 1196975"/>
                <a:gd name="connsiteY7" fmla="*/ 838200 h 933450"/>
                <a:gd name="connsiteX8" fmla="*/ 631825 w 1196975"/>
                <a:gd name="connsiteY8" fmla="*/ 781050 h 933450"/>
                <a:gd name="connsiteX9" fmla="*/ 606425 w 1196975"/>
                <a:gd name="connsiteY9" fmla="*/ 755650 h 933450"/>
                <a:gd name="connsiteX10" fmla="*/ 615950 w 1196975"/>
                <a:gd name="connsiteY10" fmla="*/ 685800 h 933450"/>
                <a:gd name="connsiteX11" fmla="*/ 673100 w 1196975"/>
                <a:gd name="connsiteY11" fmla="*/ 657225 h 933450"/>
                <a:gd name="connsiteX12" fmla="*/ 657225 w 1196975"/>
                <a:gd name="connsiteY12" fmla="*/ 593725 h 933450"/>
                <a:gd name="connsiteX13" fmla="*/ 692150 w 1196975"/>
                <a:gd name="connsiteY13" fmla="*/ 530225 h 933450"/>
                <a:gd name="connsiteX14" fmla="*/ 730250 w 1196975"/>
                <a:gd name="connsiteY14" fmla="*/ 457200 h 933450"/>
                <a:gd name="connsiteX15" fmla="*/ 771525 w 1196975"/>
                <a:gd name="connsiteY15" fmla="*/ 498475 h 933450"/>
                <a:gd name="connsiteX16" fmla="*/ 920750 w 1196975"/>
                <a:gd name="connsiteY16" fmla="*/ 488950 h 933450"/>
                <a:gd name="connsiteX17" fmla="*/ 958850 w 1196975"/>
                <a:gd name="connsiteY17" fmla="*/ 565150 h 933450"/>
                <a:gd name="connsiteX18" fmla="*/ 1054100 w 1196975"/>
                <a:gd name="connsiteY18" fmla="*/ 625475 h 933450"/>
                <a:gd name="connsiteX19" fmla="*/ 1120775 w 1196975"/>
                <a:gd name="connsiteY19" fmla="*/ 593725 h 933450"/>
                <a:gd name="connsiteX20" fmla="*/ 1196975 w 1196975"/>
                <a:gd name="connsiteY20" fmla="*/ 533400 h 933450"/>
                <a:gd name="connsiteX21" fmla="*/ 1063625 w 1196975"/>
                <a:gd name="connsiteY21" fmla="*/ 371475 h 933450"/>
                <a:gd name="connsiteX22" fmla="*/ 1016000 w 1196975"/>
                <a:gd name="connsiteY22" fmla="*/ 422275 h 933450"/>
                <a:gd name="connsiteX23" fmla="*/ 968375 w 1196975"/>
                <a:gd name="connsiteY23" fmla="*/ 403225 h 933450"/>
                <a:gd name="connsiteX24" fmla="*/ 958850 w 1196975"/>
                <a:gd name="connsiteY24" fmla="*/ 361950 h 933450"/>
                <a:gd name="connsiteX25" fmla="*/ 939800 w 1196975"/>
                <a:gd name="connsiteY25" fmla="*/ 295275 h 933450"/>
                <a:gd name="connsiteX26" fmla="*/ 863600 w 1196975"/>
                <a:gd name="connsiteY26" fmla="*/ 298450 h 933450"/>
                <a:gd name="connsiteX27" fmla="*/ 863600 w 1196975"/>
                <a:gd name="connsiteY27" fmla="*/ 269875 h 933450"/>
                <a:gd name="connsiteX28" fmla="*/ 904875 w 1196975"/>
                <a:gd name="connsiteY28" fmla="*/ 250825 h 933450"/>
                <a:gd name="connsiteX29" fmla="*/ 866775 w 1196975"/>
                <a:gd name="connsiteY29" fmla="*/ 168275 h 933450"/>
                <a:gd name="connsiteX30" fmla="*/ 825500 w 1196975"/>
                <a:gd name="connsiteY30" fmla="*/ 231775 h 933450"/>
                <a:gd name="connsiteX31" fmla="*/ 809625 w 1196975"/>
                <a:gd name="connsiteY31" fmla="*/ 184150 h 933450"/>
                <a:gd name="connsiteX32" fmla="*/ 762000 w 1196975"/>
                <a:gd name="connsiteY32" fmla="*/ 177800 h 933450"/>
                <a:gd name="connsiteX33" fmla="*/ 762000 w 1196975"/>
                <a:gd name="connsiteY33" fmla="*/ 149225 h 933450"/>
                <a:gd name="connsiteX34" fmla="*/ 781050 w 1196975"/>
                <a:gd name="connsiteY34" fmla="*/ 142875 h 933450"/>
                <a:gd name="connsiteX35" fmla="*/ 784225 w 1196975"/>
                <a:gd name="connsiteY35" fmla="*/ 107950 h 933450"/>
                <a:gd name="connsiteX36" fmla="*/ 768350 w 1196975"/>
                <a:gd name="connsiteY36" fmla="*/ 82550 h 933450"/>
                <a:gd name="connsiteX37" fmla="*/ 809625 w 1196975"/>
                <a:gd name="connsiteY37" fmla="*/ 41275 h 933450"/>
                <a:gd name="connsiteX38" fmla="*/ 800100 w 1196975"/>
                <a:gd name="connsiteY38" fmla="*/ 19050 h 933450"/>
                <a:gd name="connsiteX39" fmla="*/ 768350 w 1196975"/>
                <a:gd name="connsiteY39" fmla="*/ 0 h 933450"/>
                <a:gd name="connsiteX40" fmla="*/ 717550 w 1196975"/>
                <a:gd name="connsiteY40" fmla="*/ 38100 h 933450"/>
                <a:gd name="connsiteX41" fmla="*/ 688975 w 1196975"/>
                <a:gd name="connsiteY41" fmla="*/ 15875 h 933450"/>
                <a:gd name="connsiteX42" fmla="*/ 638175 w 1196975"/>
                <a:gd name="connsiteY42" fmla="*/ 22225 h 933450"/>
                <a:gd name="connsiteX43" fmla="*/ 492125 w 1196975"/>
                <a:gd name="connsiteY43" fmla="*/ 92075 h 933450"/>
                <a:gd name="connsiteX44" fmla="*/ 469900 w 1196975"/>
                <a:gd name="connsiteY44" fmla="*/ 165100 h 933450"/>
                <a:gd name="connsiteX45" fmla="*/ 460375 w 1196975"/>
                <a:gd name="connsiteY45" fmla="*/ 196850 h 933450"/>
                <a:gd name="connsiteX46" fmla="*/ 412750 w 1196975"/>
                <a:gd name="connsiteY46" fmla="*/ 152400 h 933450"/>
                <a:gd name="connsiteX47" fmla="*/ 206375 w 1196975"/>
                <a:gd name="connsiteY47" fmla="*/ 215900 h 933450"/>
                <a:gd name="connsiteX48" fmla="*/ 190500 w 1196975"/>
                <a:gd name="connsiteY48" fmla="*/ 219075 h 933450"/>
                <a:gd name="connsiteX49" fmla="*/ 177800 w 1196975"/>
                <a:gd name="connsiteY49" fmla="*/ 311150 h 933450"/>
                <a:gd name="connsiteX50" fmla="*/ 139700 w 1196975"/>
                <a:gd name="connsiteY50" fmla="*/ 342900 h 933450"/>
                <a:gd name="connsiteX51" fmla="*/ 0 w 1196975"/>
                <a:gd name="connsiteY51" fmla="*/ 561975 h 933450"/>
                <a:gd name="connsiteX52" fmla="*/ 104775 w 1196975"/>
                <a:gd name="connsiteY52" fmla="*/ 625475 h 933450"/>
                <a:gd name="connsiteX53" fmla="*/ 50800 w 1196975"/>
                <a:gd name="connsiteY53" fmla="*/ 714375 h 933450"/>
                <a:gd name="connsiteX54" fmla="*/ 57150 w 1196975"/>
                <a:gd name="connsiteY54" fmla="*/ 781050 h 933450"/>
                <a:gd name="connsiteX55" fmla="*/ 168275 w 1196975"/>
                <a:gd name="connsiteY55" fmla="*/ 898525 h 93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96975" h="933450">
                  <a:moveTo>
                    <a:pt x="168275" y="898525"/>
                  </a:moveTo>
                  <a:lnTo>
                    <a:pt x="257175" y="923925"/>
                  </a:lnTo>
                  <a:lnTo>
                    <a:pt x="355600" y="911225"/>
                  </a:lnTo>
                  <a:lnTo>
                    <a:pt x="396875" y="933450"/>
                  </a:lnTo>
                  <a:lnTo>
                    <a:pt x="463550" y="895350"/>
                  </a:lnTo>
                  <a:lnTo>
                    <a:pt x="495300" y="841375"/>
                  </a:lnTo>
                  <a:lnTo>
                    <a:pt x="552450" y="866775"/>
                  </a:lnTo>
                  <a:lnTo>
                    <a:pt x="622300" y="838200"/>
                  </a:lnTo>
                  <a:lnTo>
                    <a:pt x="631825" y="781050"/>
                  </a:lnTo>
                  <a:lnTo>
                    <a:pt x="606425" y="755650"/>
                  </a:lnTo>
                  <a:lnTo>
                    <a:pt x="615950" y="685800"/>
                  </a:lnTo>
                  <a:lnTo>
                    <a:pt x="673100" y="657225"/>
                  </a:lnTo>
                  <a:lnTo>
                    <a:pt x="657225" y="593725"/>
                  </a:lnTo>
                  <a:lnTo>
                    <a:pt x="692150" y="530225"/>
                  </a:lnTo>
                  <a:lnTo>
                    <a:pt x="730250" y="457200"/>
                  </a:lnTo>
                  <a:lnTo>
                    <a:pt x="771525" y="498475"/>
                  </a:lnTo>
                  <a:lnTo>
                    <a:pt x="920750" y="488950"/>
                  </a:lnTo>
                  <a:lnTo>
                    <a:pt x="958850" y="565150"/>
                  </a:lnTo>
                  <a:lnTo>
                    <a:pt x="1054100" y="625475"/>
                  </a:lnTo>
                  <a:lnTo>
                    <a:pt x="1120775" y="593725"/>
                  </a:lnTo>
                  <a:lnTo>
                    <a:pt x="1196975" y="533400"/>
                  </a:lnTo>
                  <a:lnTo>
                    <a:pt x="1063625" y="371475"/>
                  </a:lnTo>
                  <a:lnTo>
                    <a:pt x="1016000" y="422275"/>
                  </a:lnTo>
                  <a:lnTo>
                    <a:pt x="968375" y="403225"/>
                  </a:lnTo>
                  <a:lnTo>
                    <a:pt x="958850" y="361950"/>
                  </a:lnTo>
                  <a:lnTo>
                    <a:pt x="939800" y="295275"/>
                  </a:lnTo>
                  <a:lnTo>
                    <a:pt x="863600" y="298450"/>
                  </a:lnTo>
                  <a:lnTo>
                    <a:pt x="863600" y="269875"/>
                  </a:lnTo>
                  <a:lnTo>
                    <a:pt x="904875" y="250825"/>
                  </a:lnTo>
                  <a:lnTo>
                    <a:pt x="866775" y="168275"/>
                  </a:lnTo>
                  <a:lnTo>
                    <a:pt x="825500" y="231775"/>
                  </a:lnTo>
                  <a:lnTo>
                    <a:pt x="809625" y="184150"/>
                  </a:lnTo>
                  <a:lnTo>
                    <a:pt x="762000" y="177800"/>
                  </a:lnTo>
                  <a:lnTo>
                    <a:pt x="762000" y="149225"/>
                  </a:lnTo>
                  <a:lnTo>
                    <a:pt x="781050" y="142875"/>
                  </a:lnTo>
                  <a:lnTo>
                    <a:pt x="784225" y="107950"/>
                  </a:lnTo>
                  <a:lnTo>
                    <a:pt x="768350" y="82550"/>
                  </a:lnTo>
                  <a:lnTo>
                    <a:pt x="809625" y="41275"/>
                  </a:lnTo>
                  <a:lnTo>
                    <a:pt x="800100" y="19050"/>
                  </a:lnTo>
                  <a:lnTo>
                    <a:pt x="768350" y="0"/>
                  </a:lnTo>
                  <a:lnTo>
                    <a:pt x="717550" y="38100"/>
                  </a:lnTo>
                  <a:lnTo>
                    <a:pt x="688975" y="15875"/>
                  </a:lnTo>
                  <a:lnTo>
                    <a:pt x="638175" y="22225"/>
                  </a:lnTo>
                  <a:lnTo>
                    <a:pt x="492125" y="92075"/>
                  </a:lnTo>
                  <a:lnTo>
                    <a:pt x="469900" y="165100"/>
                  </a:lnTo>
                  <a:lnTo>
                    <a:pt x="460375" y="196850"/>
                  </a:lnTo>
                  <a:lnTo>
                    <a:pt x="412750" y="152400"/>
                  </a:lnTo>
                  <a:lnTo>
                    <a:pt x="206375" y="215900"/>
                  </a:lnTo>
                  <a:lnTo>
                    <a:pt x="190500" y="219075"/>
                  </a:lnTo>
                  <a:lnTo>
                    <a:pt x="177800" y="311150"/>
                  </a:lnTo>
                  <a:lnTo>
                    <a:pt x="139700" y="342900"/>
                  </a:lnTo>
                  <a:lnTo>
                    <a:pt x="0" y="561975"/>
                  </a:lnTo>
                  <a:lnTo>
                    <a:pt x="104775" y="625475"/>
                  </a:lnTo>
                  <a:lnTo>
                    <a:pt x="50800" y="714375"/>
                  </a:lnTo>
                  <a:lnTo>
                    <a:pt x="57150" y="781050"/>
                  </a:lnTo>
                  <a:lnTo>
                    <a:pt x="168275" y="898525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4" name="Freeform 173"/>
            <p:cNvSpPr/>
            <p:nvPr/>
          </p:nvSpPr>
          <p:spPr>
            <a:xfrm>
              <a:off x="4250751" y="3458858"/>
              <a:ext cx="235190" cy="209686"/>
            </a:xfrm>
            <a:custGeom>
              <a:avLst/>
              <a:gdLst>
                <a:gd name="connsiteX0" fmla="*/ 352425 w 482600"/>
                <a:gd name="connsiteY0" fmla="*/ 434975 h 495300"/>
                <a:gd name="connsiteX1" fmla="*/ 447675 w 482600"/>
                <a:gd name="connsiteY1" fmla="*/ 403225 h 495300"/>
                <a:gd name="connsiteX2" fmla="*/ 431800 w 482600"/>
                <a:gd name="connsiteY2" fmla="*/ 323850 h 495300"/>
                <a:gd name="connsiteX3" fmla="*/ 482600 w 482600"/>
                <a:gd name="connsiteY3" fmla="*/ 234950 h 495300"/>
                <a:gd name="connsiteX4" fmla="*/ 466725 w 482600"/>
                <a:gd name="connsiteY4" fmla="*/ 69850 h 495300"/>
                <a:gd name="connsiteX5" fmla="*/ 304800 w 482600"/>
                <a:gd name="connsiteY5" fmla="*/ 69850 h 495300"/>
                <a:gd name="connsiteX6" fmla="*/ 269875 w 482600"/>
                <a:gd name="connsiteY6" fmla="*/ 15875 h 495300"/>
                <a:gd name="connsiteX7" fmla="*/ 184150 w 482600"/>
                <a:gd name="connsiteY7" fmla="*/ 0 h 495300"/>
                <a:gd name="connsiteX8" fmla="*/ 152400 w 482600"/>
                <a:gd name="connsiteY8" fmla="*/ 66675 h 495300"/>
                <a:gd name="connsiteX9" fmla="*/ 152400 w 482600"/>
                <a:gd name="connsiteY9" fmla="*/ 117475 h 495300"/>
                <a:gd name="connsiteX10" fmla="*/ 120650 w 482600"/>
                <a:gd name="connsiteY10" fmla="*/ 215900 h 495300"/>
                <a:gd name="connsiteX11" fmla="*/ 0 w 482600"/>
                <a:gd name="connsiteY11" fmla="*/ 244475 h 495300"/>
                <a:gd name="connsiteX12" fmla="*/ 3175 w 482600"/>
                <a:gd name="connsiteY12" fmla="*/ 269875 h 495300"/>
                <a:gd name="connsiteX13" fmla="*/ 57150 w 482600"/>
                <a:gd name="connsiteY13" fmla="*/ 301625 h 495300"/>
                <a:gd name="connsiteX14" fmla="*/ 155575 w 482600"/>
                <a:gd name="connsiteY14" fmla="*/ 285750 h 495300"/>
                <a:gd name="connsiteX15" fmla="*/ 177800 w 482600"/>
                <a:gd name="connsiteY15" fmla="*/ 320675 h 495300"/>
                <a:gd name="connsiteX16" fmla="*/ 231775 w 482600"/>
                <a:gd name="connsiteY16" fmla="*/ 285750 h 495300"/>
                <a:gd name="connsiteX17" fmla="*/ 269875 w 482600"/>
                <a:gd name="connsiteY17" fmla="*/ 323850 h 495300"/>
                <a:gd name="connsiteX18" fmla="*/ 228600 w 482600"/>
                <a:gd name="connsiteY18" fmla="*/ 355600 h 495300"/>
                <a:gd name="connsiteX19" fmla="*/ 250825 w 482600"/>
                <a:gd name="connsiteY19" fmla="*/ 381000 h 495300"/>
                <a:gd name="connsiteX20" fmla="*/ 244475 w 482600"/>
                <a:gd name="connsiteY20" fmla="*/ 431800 h 495300"/>
                <a:gd name="connsiteX21" fmla="*/ 212725 w 482600"/>
                <a:gd name="connsiteY21" fmla="*/ 425450 h 495300"/>
                <a:gd name="connsiteX22" fmla="*/ 254000 w 482600"/>
                <a:gd name="connsiteY22" fmla="*/ 457200 h 495300"/>
                <a:gd name="connsiteX23" fmla="*/ 288925 w 482600"/>
                <a:gd name="connsiteY23" fmla="*/ 495300 h 495300"/>
                <a:gd name="connsiteX24" fmla="*/ 352425 w 482600"/>
                <a:gd name="connsiteY24" fmla="*/ 434975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82600" h="495300">
                  <a:moveTo>
                    <a:pt x="352425" y="434975"/>
                  </a:moveTo>
                  <a:lnTo>
                    <a:pt x="447675" y="403225"/>
                  </a:lnTo>
                  <a:lnTo>
                    <a:pt x="431800" y="323850"/>
                  </a:lnTo>
                  <a:lnTo>
                    <a:pt x="482600" y="234950"/>
                  </a:lnTo>
                  <a:lnTo>
                    <a:pt x="466725" y="69850"/>
                  </a:lnTo>
                  <a:lnTo>
                    <a:pt x="304800" y="69850"/>
                  </a:lnTo>
                  <a:lnTo>
                    <a:pt x="269875" y="15875"/>
                  </a:lnTo>
                  <a:lnTo>
                    <a:pt x="184150" y="0"/>
                  </a:lnTo>
                  <a:lnTo>
                    <a:pt x="152400" y="66675"/>
                  </a:lnTo>
                  <a:lnTo>
                    <a:pt x="152400" y="117475"/>
                  </a:lnTo>
                  <a:lnTo>
                    <a:pt x="120650" y="215900"/>
                  </a:lnTo>
                  <a:lnTo>
                    <a:pt x="0" y="244475"/>
                  </a:lnTo>
                  <a:lnTo>
                    <a:pt x="3175" y="269875"/>
                  </a:lnTo>
                  <a:lnTo>
                    <a:pt x="57150" y="301625"/>
                  </a:lnTo>
                  <a:lnTo>
                    <a:pt x="155575" y="285750"/>
                  </a:lnTo>
                  <a:lnTo>
                    <a:pt x="177800" y="320675"/>
                  </a:lnTo>
                  <a:lnTo>
                    <a:pt x="231775" y="285750"/>
                  </a:lnTo>
                  <a:lnTo>
                    <a:pt x="269875" y="323850"/>
                  </a:lnTo>
                  <a:lnTo>
                    <a:pt x="228600" y="355600"/>
                  </a:lnTo>
                  <a:lnTo>
                    <a:pt x="250825" y="381000"/>
                  </a:lnTo>
                  <a:lnTo>
                    <a:pt x="244475" y="431800"/>
                  </a:lnTo>
                  <a:lnTo>
                    <a:pt x="212725" y="425450"/>
                  </a:lnTo>
                  <a:lnTo>
                    <a:pt x="254000" y="457200"/>
                  </a:lnTo>
                  <a:lnTo>
                    <a:pt x="288925" y="495300"/>
                  </a:lnTo>
                  <a:lnTo>
                    <a:pt x="352425" y="434975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5" name="Freeform 174"/>
            <p:cNvSpPr/>
            <p:nvPr/>
          </p:nvSpPr>
          <p:spPr>
            <a:xfrm>
              <a:off x="4461182" y="3410469"/>
              <a:ext cx="337312" cy="232538"/>
            </a:xfrm>
            <a:custGeom>
              <a:avLst/>
              <a:gdLst>
                <a:gd name="connsiteX0" fmla="*/ 3175 w 692150"/>
                <a:gd name="connsiteY0" fmla="*/ 533400 h 549275"/>
                <a:gd name="connsiteX1" fmla="*/ 139700 w 692150"/>
                <a:gd name="connsiteY1" fmla="*/ 536575 h 549275"/>
                <a:gd name="connsiteX2" fmla="*/ 257175 w 692150"/>
                <a:gd name="connsiteY2" fmla="*/ 549275 h 549275"/>
                <a:gd name="connsiteX3" fmla="*/ 428625 w 692150"/>
                <a:gd name="connsiteY3" fmla="*/ 533400 h 549275"/>
                <a:gd name="connsiteX4" fmla="*/ 485775 w 692150"/>
                <a:gd name="connsiteY4" fmla="*/ 466725 h 549275"/>
                <a:gd name="connsiteX5" fmla="*/ 625475 w 692150"/>
                <a:gd name="connsiteY5" fmla="*/ 425450 h 549275"/>
                <a:gd name="connsiteX6" fmla="*/ 628650 w 692150"/>
                <a:gd name="connsiteY6" fmla="*/ 358775 h 549275"/>
                <a:gd name="connsiteX7" fmla="*/ 647700 w 692150"/>
                <a:gd name="connsiteY7" fmla="*/ 269875 h 549275"/>
                <a:gd name="connsiteX8" fmla="*/ 692150 w 692150"/>
                <a:gd name="connsiteY8" fmla="*/ 101600 h 549275"/>
                <a:gd name="connsiteX9" fmla="*/ 584200 w 692150"/>
                <a:gd name="connsiteY9" fmla="*/ 171450 h 549275"/>
                <a:gd name="connsiteX10" fmla="*/ 384175 w 692150"/>
                <a:gd name="connsiteY10" fmla="*/ 168275 h 549275"/>
                <a:gd name="connsiteX11" fmla="*/ 393700 w 692150"/>
                <a:gd name="connsiteY11" fmla="*/ 146050 h 549275"/>
                <a:gd name="connsiteX12" fmla="*/ 244475 w 692150"/>
                <a:gd name="connsiteY12" fmla="*/ 0 h 549275"/>
                <a:gd name="connsiteX13" fmla="*/ 177800 w 692150"/>
                <a:gd name="connsiteY13" fmla="*/ 73025 h 549275"/>
                <a:gd name="connsiteX14" fmla="*/ 66675 w 692150"/>
                <a:gd name="connsiteY14" fmla="*/ 38100 h 549275"/>
                <a:gd name="connsiteX15" fmla="*/ 41275 w 692150"/>
                <a:gd name="connsiteY15" fmla="*/ 63500 h 549275"/>
                <a:gd name="connsiteX16" fmla="*/ 63500 w 692150"/>
                <a:gd name="connsiteY16" fmla="*/ 174625 h 549275"/>
                <a:gd name="connsiteX17" fmla="*/ 38100 w 692150"/>
                <a:gd name="connsiteY17" fmla="*/ 177800 h 549275"/>
                <a:gd name="connsiteX18" fmla="*/ 44450 w 692150"/>
                <a:gd name="connsiteY18" fmla="*/ 339725 h 549275"/>
                <a:gd name="connsiteX19" fmla="*/ 0 w 692150"/>
                <a:gd name="connsiteY19" fmla="*/ 428625 h 549275"/>
                <a:gd name="connsiteX20" fmla="*/ 3175 w 692150"/>
                <a:gd name="connsiteY20" fmla="*/ 533400 h 54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92150" h="549275">
                  <a:moveTo>
                    <a:pt x="3175" y="533400"/>
                  </a:moveTo>
                  <a:lnTo>
                    <a:pt x="139700" y="536575"/>
                  </a:lnTo>
                  <a:lnTo>
                    <a:pt x="257175" y="549275"/>
                  </a:lnTo>
                  <a:lnTo>
                    <a:pt x="428625" y="533400"/>
                  </a:lnTo>
                  <a:lnTo>
                    <a:pt x="485775" y="466725"/>
                  </a:lnTo>
                  <a:lnTo>
                    <a:pt x="625475" y="425450"/>
                  </a:lnTo>
                  <a:lnTo>
                    <a:pt x="628650" y="358775"/>
                  </a:lnTo>
                  <a:lnTo>
                    <a:pt x="647700" y="269875"/>
                  </a:lnTo>
                  <a:lnTo>
                    <a:pt x="692150" y="101600"/>
                  </a:lnTo>
                  <a:lnTo>
                    <a:pt x="584200" y="171450"/>
                  </a:lnTo>
                  <a:lnTo>
                    <a:pt x="384175" y="168275"/>
                  </a:lnTo>
                  <a:lnTo>
                    <a:pt x="393700" y="146050"/>
                  </a:lnTo>
                  <a:lnTo>
                    <a:pt x="244475" y="0"/>
                  </a:lnTo>
                  <a:lnTo>
                    <a:pt x="177800" y="73025"/>
                  </a:lnTo>
                  <a:lnTo>
                    <a:pt x="66675" y="38100"/>
                  </a:lnTo>
                  <a:lnTo>
                    <a:pt x="41275" y="63500"/>
                  </a:lnTo>
                  <a:lnTo>
                    <a:pt x="63500" y="174625"/>
                  </a:lnTo>
                  <a:lnTo>
                    <a:pt x="38100" y="177800"/>
                  </a:lnTo>
                  <a:lnTo>
                    <a:pt x="44450" y="339725"/>
                  </a:lnTo>
                  <a:lnTo>
                    <a:pt x="0" y="428625"/>
                  </a:lnTo>
                  <a:cubicBezTo>
                    <a:pt x="1058" y="463550"/>
                    <a:pt x="2117" y="498475"/>
                    <a:pt x="3175" y="533400"/>
                  </a:cubicBez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6" name="Freeform 175"/>
            <p:cNvSpPr/>
            <p:nvPr/>
          </p:nvSpPr>
          <p:spPr>
            <a:xfrm>
              <a:off x="4407030" y="3593273"/>
              <a:ext cx="575596" cy="517496"/>
            </a:xfrm>
            <a:custGeom>
              <a:avLst/>
              <a:gdLst>
                <a:gd name="connsiteX0" fmla="*/ 95250 w 1181100"/>
                <a:gd name="connsiteY0" fmla="*/ 95250 h 1222375"/>
                <a:gd name="connsiteX1" fmla="*/ 15875 w 1181100"/>
                <a:gd name="connsiteY1" fmla="*/ 123825 h 1222375"/>
                <a:gd name="connsiteX2" fmla="*/ 47625 w 1181100"/>
                <a:gd name="connsiteY2" fmla="*/ 212725 h 1222375"/>
                <a:gd name="connsiteX3" fmla="*/ 0 w 1181100"/>
                <a:gd name="connsiteY3" fmla="*/ 225425 h 1222375"/>
                <a:gd name="connsiteX4" fmla="*/ 9525 w 1181100"/>
                <a:gd name="connsiteY4" fmla="*/ 250825 h 1222375"/>
                <a:gd name="connsiteX5" fmla="*/ 79375 w 1181100"/>
                <a:gd name="connsiteY5" fmla="*/ 250825 h 1222375"/>
                <a:gd name="connsiteX6" fmla="*/ 107950 w 1181100"/>
                <a:gd name="connsiteY6" fmla="*/ 358775 h 1222375"/>
                <a:gd name="connsiteX7" fmla="*/ 152400 w 1181100"/>
                <a:gd name="connsiteY7" fmla="*/ 377825 h 1222375"/>
                <a:gd name="connsiteX8" fmla="*/ 200025 w 1181100"/>
                <a:gd name="connsiteY8" fmla="*/ 330200 h 1222375"/>
                <a:gd name="connsiteX9" fmla="*/ 342900 w 1181100"/>
                <a:gd name="connsiteY9" fmla="*/ 492125 h 1222375"/>
                <a:gd name="connsiteX10" fmla="*/ 355600 w 1181100"/>
                <a:gd name="connsiteY10" fmla="*/ 520700 h 1222375"/>
                <a:gd name="connsiteX11" fmla="*/ 323850 w 1181100"/>
                <a:gd name="connsiteY11" fmla="*/ 558800 h 1222375"/>
                <a:gd name="connsiteX12" fmla="*/ 412750 w 1181100"/>
                <a:gd name="connsiteY12" fmla="*/ 565150 h 1222375"/>
                <a:gd name="connsiteX13" fmla="*/ 460375 w 1181100"/>
                <a:gd name="connsiteY13" fmla="*/ 628650 h 1222375"/>
                <a:gd name="connsiteX14" fmla="*/ 457200 w 1181100"/>
                <a:gd name="connsiteY14" fmla="*/ 682625 h 1222375"/>
                <a:gd name="connsiteX15" fmla="*/ 438150 w 1181100"/>
                <a:gd name="connsiteY15" fmla="*/ 752475 h 1222375"/>
                <a:gd name="connsiteX16" fmla="*/ 504825 w 1181100"/>
                <a:gd name="connsiteY16" fmla="*/ 819150 h 1222375"/>
                <a:gd name="connsiteX17" fmla="*/ 549275 w 1181100"/>
                <a:gd name="connsiteY17" fmla="*/ 847725 h 1222375"/>
                <a:gd name="connsiteX18" fmla="*/ 606425 w 1181100"/>
                <a:gd name="connsiteY18" fmla="*/ 774700 h 1222375"/>
                <a:gd name="connsiteX19" fmla="*/ 641350 w 1181100"/>
                <a:gd name="connsiteY19" fmla="*/ 787400 h 1222375"/>
                <a:gd name="connsiteX20" fmla="*/ 682625 w 1181100"/>
                <a:gd name="connsiteY20" fmla="*/ 844550 h 1222375"/>
                <a:gd name="connsiteX21" fmla="*/ 714375 w 1181100"/>
                <a:gd name="connsiteY21" fmla="*/ 828675 h 1222375"/>
                <a:gd name="connsiteX22" fmla="*/ 730250 w 1181100"/>
                <a:gd name="connsiteY22" fmla="*/ 942975 h 1222375"/>
                <a:gd name="connsiteX23" fmla="*/ 676275 w 1181100"/>
                <a:gd name="connsiteY23" fmla="*/ 1019175 h 1222375"/>
                <a:gd name="connsiteX24" fmla="*/ 806450 w 1181100"/>
                <a:gd name="connsiteY24" fmla="*/ 1089025 h 1222375"/>
                <a:gd name="connsiteX25" fmla="*/ 946150 w 1181100"/>
                <a:gd name="connsiteY25" fmla="*/ 1222375 h 1222375"/>
                <a:gd name="connsiteX26" fmla="*/ 958850 w 1181100"/>
                <a:gd name="connsiteY26" fmla="*/ 1092200 h 1222375"/>
                <a:gd name="connsiteX27" fmla="*/ 996950 w 1181100"/>
                <a:gd name="connsiteY27" fmla="*/ 1063625 h 1222375"/>
                <a:gd name="connsiteX28" fmla="*/ 1016000 w 1181100"/>
                <a:gd name="connsiteY28" fmla="*/ 955675 h 1222375"/>
                <a:gd name="connsiteX29" fmla="*/ 1063625 w 1181100"/>
                <a:gd name="connsiteY29" fmla="*/ 933450 h 1222375"/>
                <a:gd name="connsiteX30" fmla="*/ 1133475 w 1181100"/>
                <a:gd name="connsiteY30" fmla="*/ 822325 h 1222375"/>
                <a:gd name="connsiteX31" fmla="*/ 1181100 w 1181100"/>
                <a:gd name="connsiteY31" fmla="*/ 800100 h 1222375"/>
                <a:gd name="connsiteX32" fmla="*/ 1181100 w 1181100"/>
                <a:gd name="connsiteY32" fmla="*/ 720725 h 1222375"/>
                <a:gd name="connsiteX33" fmla="*/ 1130300 w 1181100"/>
                <a:gd name="connsiteY33" fmla="*/ 638175 h 1222375"/>
                <a:gd name="connsiteX34" fmla="*/ 1098550 w 1181100"/>
                <a:gd name="connsiteY34" fmla="*/ 596900 h 1222375"/>
                <a:gd name="connsiteX35" fmla="*/ 1104900 w 1181100"/>
                <a:gd name="connsiteY35" fmla="*/ 501650 h 1222375"/>
                <a:gd name="connsiteX36" fmla="*/ 1019175 w 1181100"/>
                <a:gd name="connsiteY36" fmla="*/ 479425 h 1222375"/>
                <a:gd name="connsiteX37" fmla="*/ 1050925 w 1181100"/>
                <a:gd name="connsiteY37" fmla="*/ 307975 h 1222375"/>
                <a:gd name="connsiteX38" fmla="*/ 1016000 w 1181100"/>
                <a:gd name="connsiteY38" fmla="*/ 187325 h 1222375"/>
                <a:gd name="connsiteX39" fmla="*/ 952500 w 1181100"/>
                <a:gd name="connsiteY39" fmla="*/ 127000 h 1222375"/>
                <a:gd name="connsiteX40" fmla="*/ 984250 w 1181100"/>
                <a:gd name="connsiteY40" fmla="*/ 76200 h 1222375"/>
                <a:gd name="connsiteX41" fmla="*/ 930275 w 1181100"/>
                <a:gd name="connsiteY41" fmla="*/ 53975 h 1222375"/>
                <a:gd name="connsiteX42" fmla="*/ 796925 w 1181100"/>
                <a:gd name="connsiteY42" fmla="*/ 47625 h 1222375"/>
                <a:gd name="connsiteX43" fmla="*/ 733425 w 1181100"/>
                <a:gd name="connsiteY43" fmla="*/ 0 h 1222375"/>
                <a:gd name="connsiteX44" fmla="*/ 609600 w 1181100"/>
                <a:gd name="connsiteY44" fmla="*/ 22225 h 1222375"/>
                <a:gd name="connsiteX45" fmla="*/ 546100 w 1181100"/>
                <a:gd name="connsiteY45" fmla="*/ 92075 h 1222375"/>
                <a:gd name="connsiteX46" fmla="*/ 374650 w 1181100"/>
                <a:gd name="connsiteY46" fmla="*/ 107950 h 1222375"/>
                <a:gd name="connsiteX47" fmla="*/ 95250 w 1181100"/>
                <a:gd name="connsiteY47" fmla="*/ 95250 h 1222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181100" h="1222375">
                  <a:moveTo>
                    <a:pt x="95250" y="95250"/>
                  </a:moveTo>
                  <a:lnTo>
                    <a:pt x="15875" y="123825"/>
                  </a:lnTo>
                  <a:lnTo>
                    <a:pt x="47625" y="212725"/>
                  </a:lnTo>
                  <a:lnTo>
                    <a:pt x="0" y="225425"/>
                  </a:lnTo>
                  <a:lnTo>
                    <a:pt x="9525" y="250825"/>
                  </a:lnTo>
                  <a:lnTo>
                    <a:pt x="79375" y="250825"/>
                  </a:lnTo>
                  <a:lnTo>
                    <a:pt x="107950" y="358775"/>
                  </a:lnTo>
                  <a:lnTo>
                    <a:pt x="152400" y="377825"/>
                  </a:lnTo>
                  <a:lnTo>
                    <a:pt x="200025" y="330200"/>
                  </a:lnTo>
                  <a:lnTo>
                    <a:pt x="342900" y="492125"/>
                  </a:lnTo>
                  <a:lnTo>
                    <a:pt x="355600" y="520700"/>
                  </a:lnTo>
                  <a:lnTo>
                    <a:pt x="323850" y="558800"/>
                  </a:lnTo>
                  <a:lnTo>
                    <a:pt x="412750" y="565150"/>
                  </a:lnTo>
                  <a:lnTo>
                    <a:pt x="460375" y="628650"/>
                  </a:lnTo>
                  <a:lnTo>
                    <a:pt x="457200" y="682625"/>
                  </a:lnTo>
                  <a:lnTo>
                    <a:pt x="438150" y="752475"/>
                  </a:lnTo>
                  <a:lnTo>
                    <a:pt x="504825" y="819150"/>
                  </a:lnTo>
                  <a:lnTo>
                    <a:pt x="549275" y="847725"/>
                  </a:lnTo>
                  <a:lnTo>
                    <a:pt x="606425" y="774700"/>
                  </a:lnTo>
                  <a:lnTo>
                    <a:pt x="641350" y="787400"/>
                  </a:lnTo>
                  <a:lnTo>
                    <a:pt x="682625" y="844550"/>
                  </a:lnTo>
                  <a:lnTo>
                    <a:pt x="714375" y="828675"/>
                  </a:lnTo>
                  <a:lnTo>
                    <a:pt x="730250" y="942975"/>
                  </a:lnTo>
                  <a:lnTo>
                    <a:pt x="676275" y="1019175"/>
                  </a:lnTo>
                  <a:lnTo>
                    <a:pt x="806450" y="1089025"/>
                  </a:lnTo>
                  <a:lnTo>
                    <a:pt x="946150" y="1222375"/>
                  </a:lnTo>
                  <a:lnTo>
                    <a:pt x="958850" y="1092200"/>
                  </a:lnTo>
                  <a:lnTo>
                    <a:pt x="996950" y="1063625"/>
                  </a:lnTo>
                  <a:lnTo>
                    <a:pt x="1016000" y="955675"/>
                  </a:lnTo>
                  <a:lnTo>
                    <a:pt x="1063625" y="933450"/>
                  </a:lnTo>
                  <a:lnTo>
                    <a:pt x="1133475" y="822325"/>
                  </a:lnTo>
                  <a:lnTo>
                    <a:pt x="1181100" y="800100"/>
                  </a:lnTo>
                  <a:lnTo>
                    <a:pt x="1181100" y="720725"/>
                  </a:lnTo>
                  <a:lnTo>
                    <a:pt x="1130300" y="638175"/>
                  </a:lnTo>
                  <a:lnTo>
                    <a:pt x="1098550" y="596900"/>
                  </a:lnTo>
                  <a:lnTo>
                    <a:pt x="1104900" y="501650"/>
                  </a:lnTo>
                  <a:lnTo>
                    <a:pt x="1019175" y="479425"/>
                  </a:lnTo>
                  <a:lnTo>
                    <a:pt x="1050925" y="307975"/>
                  </a:lnTo>
                  <a:lnTo>
                    <a:pt x="1016000" y="187325"/>
                  </a:lnTo>
                  <a:lnTo>
                    <a:pt x="952500" y="127000"/>
                  </a:lnTo>
                  <a:lnTo>
                    <a:pt x="984250" y="76200"/>
                  </a:lnTo>
                  <a:lnTo>
                    <a:pt x="930275" y="53975"/>
                  </a:lnTo>
                  <a:lnTo>
                    <a:pt x="796925" y="47625"/>
                  </a:lnTo>
                  <a:lnTo>
                    <a:pt x="733425" y="0"/>
                  </a:lnTo>
                  <a:lnTo>
                    <a:pt x="609600" y="22225"/>
                  </a:lnTo>
                  <a:lnTo>
                    <a:pt x="546100" y="92075"/>
                  </a:lnTo>
                  <a:lnTo>
                    <a:pt x="374650" y="107950"/>
                  </a:lnTo>
                  <a:lnTo>
                    <a:pt x="95250" y="9525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7" name="Freeform 176"/>
            <p:cNvSpPr/>
            <p:nvPr/>
          </p:nvSpPr>
          <p:spPr>
            <a:xfrm>
              <a:off x="4800043" y="2906413"/>
              <a:ext cx="386827" cy="319904"/>
            </a:xfrm>
            <a:custGeom>
              <a:avLst/>
              <a:gdLst>
                <a:gd name="connsiteX0" fmla="*/ 165100 w 793750"/>
                <a:gd name="connsiteY0" fmla="*/ 0 h 755650"/>
                <a:gd name="connsiteX1" fmla="*/ 396875 w 793750"/>
                <a:gd name="connsiteY1" fmla="*/ 98425 h 755650"/>
                <a:gd name="connsiteX2" fmla="*/ 403225 w 793750"/>
                <a:gd name="connsiteY2" fmla="*/ 193675 h 755650"/>
                <a:gd name="connsiteX3" fmla="*/ 508000 w 793750"/>
                <a:gd name="connsiteY3" fmla="*/ 260350 h 755650"/>
                <a:gd name="connsiteX4" fmla="*/ 561975 w 793750"/>
                <a:gd name="connsiteY4" fmla="*/ 346075 h 755650"/>
                <a:gd name="connsiteX5" fmla="*/ 619125 w 793750"/>
                <a:gd name="connsiteY5" fmla="*/ 361950 h 755650"/>
                <a:gd name="connsiteX6" fmla="*/ 749300 w 793750"/>
                <a:gd name="connsiteY6" fmla="*/ 352425 h 755650"/>
                <a:gd name="connsiteX7" fmla="*/ 793750 w 793750"/>
                <a:gd name="connsiteY7" fmla="*/ 434975 h 755650"/>
                <a:gd name="connsiteX8" fmla="*/ 765175 w 793750"/>
                <a:gd name="connsiteY8" fmla="*/ 555625 h 755650"/>
                <a:gd name="connsiteX9" fmla="*/ 787400 w 793750"/>
                <a:gd name="connsiteY9" fmla="*/ 625475 h 755650"/>
                <a:gd name="connsiteX10" fmla="*/ 736600 w 793750"/>
                <a:gd name="connsiteY10" fmla="*/ 685800 h 755650"/>
                <a:gd name="connsiteX11" fmla="*/ 679450 w 793750"/>
                <a:gd name="connsiteY11" fmla="*/ 695325 h 755650"/>
                <a:gd name="connsiteX12" fmla="*/ 685800 w 793750"/>
                <a:gd name="connsiteY12" fmla="*/ 752475 h 755650"/>
                <a:gd name="connsiteX13" fmla="*/ 606425 w 793750"/>
                <a:gd name="connsiteY13" fmla="*/ 711200 h 755650"/>
                <a:gd name="connsiteX14" fmla="*/ 587375 w 793750"/>
                <a:gd name="connsiteY14" fmla="*/ 695325 h 755650"/>
                <a:gd name="connsiteX15" fmla="*/ 495300 w 793750"/>
                <a:gd name="connsiteY15" fmla="*/ 727075 h 755650"/>
                <a:gd name="connsiteX16" fmla="*/ 434975 w 793750"/>
                <a:gd name="connsiteY16" fmla="*/ 708025 h 755650"/>
                <a:gd name="connsiteX17" fmla="*/ 292100 w 793750"/>
                <a:gd name="connsiteY17" fmla="*/ 755650 h 755650"/>
                <a:gd name="connsiteX18" fmla="*/ 234950 w 793750"/>
                <a:gd name="connsiteY18" fmla="*/ 717550 h 755650"/>
                <a:gd name="connsiteX19" fmla="*/ 222250 w 793750"/>
                <a:gd name="connsiteY19" fmla="*/ 654050 h 755650"/>
                <a:gd name="connsiteX20" fmla="*/ 184150 w 793750"/>
                <a:gd name="connsiteY20" fmla="*/ 606425 h 755650"/>
                <a:gd name="connsiteX21" fmla="*/ 117475 w 793750"/>
                <a:gd name="connsiteY21" fmla="*/ 546100 h 755650"/>
                <a:gd name="connsiteX22" fmla="*/ 117475 w 793750"/>
                <a:gd name="connsiteY22" fmla="*/ 454025 h 755650"/>
                <a:gd name="connsiteX23" fmla="*/ 0 w 793750"/>
                <a:gd name="connsiteY23" fmla="*/ 333375 h 755650"/>
                <a:gd name="connsiteX24" fmla="*/ 85725 w 793750"/>
                <a:gd name="connsiteY24" fmla="*/ 257175 h 755650"/>
                <a:gd name="connsiteX25" fmla="*/ 98425 w 793750"/>
                <a:gd name="connsiteY25" fmla="*/ 47625 h 755650"/>
                <a:gd name="connsiteX26" fmla="*/ 165100 w 793750"/>
                <a:gd name="connsiteY26" fmla="*/ 0 h 755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93750" h="755650">
                  <a:moveTo>
                    <a:pt x="165100" y="0"/>
                  </a:moveTo>
                  <a:lnTo>
                    <a:pt x="396875" y="98425"/>
                  </a:lnTo>
                  <a:lnTo>
                    <a:pt x="403225" y="193675"/>
                  </a:lnTo>
                  <a:lnTo>
                    <a:pt x="508000" y="260350"/>
                  </a:lnTo>
                  <a:lnTo>
                    <a:pt x="561975" y="346075"/>
                  </a:lnTo>
                  <a:lnTo>
                    <a:pt x="619125" y="361950"/>
                  </a:lnTo>
                  <a:lnTo>
                    <a:pt x="749300" y="352425"/>
                  </a:lnTo>
                  <a:lnTo>
                    <a:pt x="793750" y="434975"/>
                  </a:lnTo>
                  <a:lnTo>
                    <a:pt x="765175" y="555625"/>
                  </a:lnTo>
                  <a:lnTo>
                    <a:pt x="787400" y="625475"/>
                  </a:lnTo>
                  <a:lnTo>
                    <a:pt x="736600" y="685800"/>
                  </a:lnTo>
                  <a:lnTo>
                    <a:pt x="679450" y="695325"/>
                  </a:lnTo>
                  <a:lnTo>
                    <a:pt x="685800" y="752475"/>
                  </a:lnTo>
                  <a:lnTo>
                    <a:pt x="606425" y="711200"/>
                  </a:lnTo>
                  <a:lnTo>
                    <a:pt x="587375" y="695325"/>
                  </a:lnTo>
                  <a:lnTo>
                    <a:pt x="495300" y="727075"/>
                  </a:lnTo>
                  <a:lnTo>
                    <a:pt x="434975" y="708025"/>
                  </a:lnTo>
                  <a:lnTo>
                    <a:pt x="292100" y="755650"/>
                  </a:lnTo>
                  <a:lnTo>
                    <a:pt x="234950" y="717550"/>
                  </a:lnTo>
                  <a:lnTo>
                    <a:pt x="222250" y="654050"/>
                  </a:lnTo>
                  <a:lnTo>
                    <a:pt x="184150" y="606425"/>
                  </a:lnTo>
                  <a:lnTo>
                    <a:pt x="117475" y="546100"/>
                  </a:lnTo>
                  <a:lnTo>
                    <a:pt x="117475" y="454025"/>
                  </a:lnTo>
                  <a:lnTo>
                    <a:pt x="0" y="333375"/>
                  </a:lnTo>
                  <a:lnTo>
                    <a:pt x="85725" y="257175"/>
                  </a:lnTo>
                  <a:lnTo>
                    <a:pt x="98425" y="47625"/>
                  </a:lnTo>
                  <a:lnTo>
                    <a:pt x="165100" y="0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8" name="Freeform 177"/>
            <p:cNvSpPr/>
            <p:nvPr/>
          </p:nvSpPr>
          <p:spPr>
            <a:xfrm>
              <a:off x="4996548" y="2872808"/>
              <a:ext cx="383729" cy="467762"/>
            </a:xfrm>
            <a:custGeom>
              <a:avLst/>
              <a:gdLst>
                <a:gd name="connsiteX0" fmla="*/ 0 w 787400"/>
                <a:gd name="connsiteY0" fmla="*/ 184150 h 1104900"/>
                <a:gd name="connsiteX1" fmla="*/ 158750 w 787400"/>
                <a:gd name="connsiteY1" fmla="*/ 149225 h 1104900"/>
                <a:gd name="connsiteX2" fmla="*/ 203200 w 787400"/>
                <a:gd name="connsiteY2" fmla="*/ 0 h 1104900"/>
                <a:gd name="connsiteX3" fmla="*/ 273050 w 787400"/>
                <a:gd name="connsiteY3" fmla="*/ 57150 h 1104900"/>
                <a:gd name="connsiteX4" fmla="*/ 457200 w 787400"/>
                <a:gd name="connsiteY4" fmla="*/ 38100 h 1104900"/>
                <a:gd name="connsiteX5" fmla="*/ 669925 w 787400"/>
                <a:gd name="connsiteY5" fmla="*/ 69850 h 1104900"/>
                <a:gd name="connsiteX6" fmla="*/ 746125 w 787400"/>
                <a:gd name="connsiteY6" fmla="*/ 165100 h 1104900"/>
                <a:gd name="connsiteX7" fmla="*/ 787400 w 787400"/>
                <a:gd name="connsiteY7" fmla="*/ 247650 h 1104900"/>
                <a:gd name="connsiteX8" fmla="*/ 571500 w 787400"/>
                <a:gd name="connsiteY8" fmla="*/ 314325 h 1104900"/>
                <a:gd name="connsiteX9" fmla="*/ 666750 w 787400"/>
                <a:gd name="connsiteY9" fmla="*/ 488950 h 1104900"/>
                <a:gd name="connsiteX10" fmla="*/ 622300 w 787400"/>
                <a:gd name="connsiteY10" fmla="*/ 533400 h 1104900"/>
                <a:gd name="connsiteX11" fmla="*/ 622300 w 787400"/>
                <a:gd name="connsiteY11" fmla="*/ 654050 h 1104900"/>
                <a:gd name="connsiteX12" fmla="*/ 673100 w 787400"/>
                <a:gd name="connsiteY12" fmla="*/ 742950 h 1104900"/>
                <a:gd name="connsiteX13" fmla="*/ 628650 w 787400"/>
                <a:gd name="connsiteY13" fmla="*/ 809625 h 1104900"/>
                <a:gd name="connsiteX14" fmla="*/ 660400 w 787400"/>
                <a:gd name="connsiteY14" fmla="*/ 838200 h 1104900"/>
                <a:gd name="connsiteX15" fmla="*/ 660400 w 787400"/>
                <a:gd name="connsiteY15" fmla="*/ 996950 h 1104900"/>
                <a:gd name="connsiteX16" fmla="*/ 733425 w 787400"/>
                <a:gd name="connsiteY16" fmla="*/ 1022350 h 1104900"/>
                <a:gd name="connsiteX17" fmla="*/ 669925 w 787400"/>
                <a:gd name="connsiteY17" fmla="*/ 1085850 h 1104900"/>
                <a:gd name="connsiteX18" fmla="*/ 542925 w 787400"/>
                <a:gd name="connsiteY18" fmla="*/ 1095375 h 1104900"/>
                <a:gd name="connsiteX19" fmla="*/ 460375 w 787400"/>
                <a:gd name="connsiteY19" fmla="*/ 1047750 h 1104900"/>
                <a:gd name="connsiteX20" fmla="*/ 317500 w 787400"/>
                <a:gd name="connsiteY20" fmla="*/ 1104900 h 1104900"/>
                <a:gd name="connsiteX21" fmla="*/ 336550 w 787400"/>
                <a:gd name="connsiteY21" fmla="*/ 1006475 h 1104900"/>
                <a:gd name="connsiteX22" fmla="*/ 352425 w 787400"/>
                <a:gd name="connsiteY22" fmla="*/ 904875 h 1104900"/>
                <a:gd name="connsiteX23" fmla="*/ 282575 w 787400"/>
                <a:gd name="connsiteY23" fmla="*/ 828675 h 1104900"/>
                <a:gd name="connsiteX24" fmla="*/ 279400 w 787400"/>
                <a:gd name="connsiteY24" fmla="*/ 777875 h 1104900"/>
                <a:gd name="connsiteX25" fmla="*/ 330200 w 787400"/>
                <a:gd name="connsiteY25" fmla="*/ 752475 h 1104900"/>
                <a:gd name="connsiteX26" fmla="*/ 381000 w 787400"/>
                <a:gd name="connsiteY26" fmla="*/ 704850 h 1104900"/>
                <a:gd name="connsiteX27" fmla="*/ 355600 w 787400"/>
                <a:gd name="connsiteY27" fmla="*/ 631825 h 1104900"/>
                <a:gd name="connsiteX28" fmla="*/ 387350 w 787400"/>
                <a:gd name="connsiteY28" fmla="*/ 508000 h 1104900"/>
                <a:gd name="connsiteX29" fmla="*/ 336550 w 787400"/>
                <a:gd name="connsiteY29" fmla="*/ 428625 h 1104900"/>
                <a:gd name="connsiteX30" fmla="*/ 228600 w 787400"/>
                <a:gd name="connsiteY30" fmla="*/ 431800 h 1104900"/>
                <a:gd name="connsiteX31" fmla="*/ 139700 w 787400"/>
                <a:gd name="connsiteY31" fmla="*/ 415925 h 1104900"/>
                <a:gd name="connsiteX32" fmla="*/ 111125 w 787400"/>
                <a:gd name="connsiteY32" fmla="*/ 349250 h 1104900"/>
                <a:gd name="connsiteX33" fmla="*/ 3175 w 787400"/>
                <a:gd name="connsiteY33" fmla="*/ 273050 h 1104900"/>
                <a:gd name="connsiteX34" fmla="*/ 0 w 787400"/>
                <a:gd name="connsiteY34" fmla="*/ 18415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87400" h="1104900">
                  <a:moveTo>
                    <a:pt x="0" y="184150"/>
                  </a:moveTo>
                  <a:lnTo>
                    <a:pt x="158750" y="149225"/>
                  </a:lnTo>
                  <a:lnTo>
                    <a:pt x="203200" y="0"/>
                  </a:lnTo>
                  <a:lnTo>
                    <a:pt x="273050" y="57150"/>
                  </a:lnTo>
                  <a:lnTo>
                    <a:pt x="457200" y="38100"/>
                  </a:lnTo>
                  <a:lnTo>
                    <a:pt x="669925" y="69850"/>
                  </a:lnTo>
                  <a:lnTo>
                    <a:pt x="746125" y="165100"/>
                  </a:lnTo>
                  <a:lnTo>
                    <a:pt x="787400" y="247650"/>
                  </a:lnTo>
                  <a:lnTo>
                    <a:pt x="571500" y="314325"/>
                  </a:lnTo>
                  <a:lnTo>
                    <a:pt x="666750" y="488950"/>
                  </a:lnTo>
                  <a:lnTo>
                    <a:pt x="622300" y="533400"/>
                  </a:lnTo>
                  <a:lnTo>
                    <a:pt x="622300" y="654050"/>
                  </a:lnTo>
                  <a:lnTo>
                    <a:pt x="673100" y="742950"/>
                  </a:lnTo>
                  <a:lnTo>
                    <a:pt x="628650" y="809625"/>
                  </a:lnTo>
                  <a:lnTo>
                    <a:pt x="660400" y="838200"/>
                  </a:lnTo>
                  <a:lnTo>
                    <a:pt x="660400" y="996950"/>
                  </a:lnTo>
                  <a:lnTo>
                    <a:pt x="733425" y="1022350"/>
                  </a:lnTo>
                  <a:lnTo>
                    <a:pt x="669925" y="1085850"/>
                  </a:lnTo>
                  <a:lnTo>
                    <a:pt x="542925" y="1095375"/>
                  </a:lnTo>
                  <a:lnTo>
                    <a:pt x="460375" y="1047750"/>
                  </a:lnTo>
                  <a:lnTo>
                    <a:pt x="317500" y="1104900"/>
                  </a:lnTo>
                  <a:lnTo>
                    <a:pt x="336550" y="1006475"/>
                  </a:lnTo>
                  <a:lnTo>
                    <a:pt x="352425" y="904875"/>
                  </a:lnTo>
                  <a:lnTo>
                    <a:pt x="282575" y="828675"/>
                  </a:lnTo>
                  <a:lnTo>
                    <a:pt x="279400" y="777875"/>
                  </a:lnTo>
                  <a:lnTo>
                    <a:pt x="330200" y="752475"/>
                  </a:lnTo>
                  <a:lnTo>
                    <a:pt x="381000" y="704850"/>
                  </a:lnTo>
                  <a:lnTo>
                    <a:pt x="355600" y="631825"/>
                  </a:lnTo>
                  <a:lnTo>
                    <a:pt x="387350" y="508000"/>
                  </a:lnTo>
                  <a:lnTo>
                    <a:pt x="336550" y="428625"/>
                  </a:lnTo>
                  <a:lnTo>
                    <a:pt x="228600" y="431800"/>
                  </a:lnTo>
                  <a:lnTo>
                    <a:pt x="139700" y="415925"/>
                  </a:lnTo>
                  <a:lnTo>
                    <a:pt x="111125" y="349250"/>
                  </a:lnTo>
                  <a:lnTo>
                    <a:pt x="3175" y="273050"/>
                  </a:lnTo>
                  <a:lnTo>
                    <a:pt x="0" y="18415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9" name="Freeform 178"/>
            <p:cNvSpPr/>
            <p:nvPr/>
          </p:nvSpPr>
          <p:spPr>
            <a:xfrm>
              <a:off x="4764455" y="3137605"/>
              <a:ext cx="406940" cy="357544"/>
            </a:xfrm>
            <a:custGeom>
              <a:avLst/>
              <a:gdLst>
                <a:gd name="connsiteX0" fmla="*/ 136525 w 835025"/>
                <a:gd name="connsiteY0" fmla="*/ 41275 h 844550"/>
                <a:gd name="connsiteX1" fmla="*/ 177800 w 835025"/>
                <a:gd name="connsiteY1" fmla="*/ 0 h 844550"/>
                <a:gd name="connsiteX2" fmla="*/ 292100 w 835025"/>
                <a:gd name="connsiteY2" fmla="*/ 114300 h 844550"/>
                <a:gd name="connsiteX3" fmla="*/ 307975 w 835025"/>
                <a:gd name="connsiteY3" fmla="*/ 187325 h 844550"/>
                <a:gd name="connsiteX4" fmla="*/ 365125 w 835025"/>
                <a:gd name="connsiteY4" fmla="*/ 215900 h 844550"/>
                <a:gd name="connsiteX5" fmla="*/ 514350 w 835025"/>
                <a:gd name="connsiteY5" fmla="*/ 161925 h 844550"/>
                <a:gd name="connsiteX6" fmla="*/ 561975 w 835025"/>
                <a:gd name="connsiteY6" fmla="*/ 184150 h 844550"/>
                <a:gd name="connsiteX7" fmla="*/ 663575 w 835025"/>
                <a:gd name="connsiteY7" fmla="*/ 139700 h 844550"/>
                <a:gd name="connsiteX8" fmla="*/ 774700 w 835025"/>
                <a:gd name="connsiteY8" fmla="*/ 206375 h 844550"/>
                <a:gd name="connsiteX9" fmla="*/ 835025 w 835025"/>
                <a:gd name="connsiteY9" fmla="*/ 295275 h 844550"/>
                <a:gd name="connsiteX10" fmla="*/ 800100 w 835025"/>
                <a:gd name="connsiteY10" fmla="*/ 466725 h 844550"/>
                <a:gd name="connsiteX11" fmla="*/ 793750 w 835025"/>
                <a:gd name="connsiteY11" fmla="*/ 555625 h 844550"/>
                <a:gd name="connsiteX12" fmla="*/ 835025 w 835025"/>
                <a:gd name="connsiteY12" fmla="*/ 638175 h 844550"/>
                <a:gd name="connsiteX13" fmla="*/ 739775 w 835025"/>
                <a:gd name="connsiteY13" fmla="*/ 685800 h 844550"/>
                <a:gd name="connsiteX14" fmla="*/ 698500 w 835025"/>
                <a:gd name="connsiteY14" fmla="*/ 841375 h 844550"/>
                <a:gd name="connsiteX15" fmla="*/ 514350 w 835025"/>
                <a:gd name="connsiteY15" fmla="*/ 844550 h 844550"/>
                <a:gd name="connsiteX16" fmla="*/ 441325 w 835025"/>
                <a:gd name="connsiteY16" fmla="*/ 793750 h 844550"/>
                <a:gd name="connsiteX17" fmla="*/ 454025 w 835025"/>
                <a:gd name="connsiteY17" fmla="*/ 593725 h 844550"/>
                <a:gd name="connsiteX18" fmla="*/ 450850 w 835025"/>
                <a:gd name="connsiteY18" fmla="*/ 517525 h 844550"/>
                <a:gd name="connsiteX19" fmla="*/ 346075 w 835025"/>
                <a:gd name="connsiteY19" fmla="*/ 495300 h 844550"/>
                <a:gd name="connsiteX20" fmla="*/ 320675 w 835025"/>
                <a:gd name="connsiteY20" fmla="*/ 565150 h 844550"/>
                <a:gd name="connsiteX21" fmla="*/ 209550 w 835025"/>
                <a:gd name="connsiteY21" fmla="*/ 508000 h 844550"/>
                <a:gd name="connsiteX22" fmla="*/ 171450 w 835025"/>
                <a:gd name="connsiteY22" fmla="*/ 425450 h 844550"/>
                <a:gd name="connsiteX23" fmla="*/ 142875 w 835025"/>
                <a:gd name="connsiteY23" fmla="*/ 454025 h 844550"/>
                <a:gd name="connsiteX24" fmla="*/ 92075 w 835025"/>
                <a:gd name="connsiteY24" fmla="*/ 444500 h 844550"/>
                <a:gd name="connsiteX25" fmla="*/ 44450 w 835025"/>
                <a:gd name="connsiteY25" fmla="*/ 463550 h 844550"/>
                <a:gd name="connsiteX26" fmla="*/ 53975 w 835025"/>
                <a:gd name="connsiteY26" fmla="*/ 387350 h 844550"/>
                <a:gd name="connsiteX27" fmla="*/ 3175 w 835025"/>
                <a:gd name="connsiteY27" fmla="*/ 327025 h 844550"/>
                <a:gd name="connsiteX28" fmla="*/ 0 w 835025"/>
                <a:gd name="connsiteY28" fmla="*/ 174625 h 844550"/>
                <a:gd name="connsiteX29" fmla="*/ 114300 w 835025"/>
                <a:gd name="connsiteY29" fmla="*/ 92075 h 844550"/>
                <a:gd name="connsiteX30" fmla="*/ 136525 w 835025"/>
                <a:gd name="connsiteY30" fmla="*/ 41275 h 84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35025" h="844550">
                  <a:moveTo>
                    <a:pt x="136525" y="41275"/>
                  </a:moveTo>
                  <a:lnTo>
                    <a:pt x="177800" y="0"/>
                  </a:lnTo>
                  <a:lnTo>
                    <a:pt x="292100" y="114300"/>
                  </a:lnTo>
                  <a:lnTo>
                    <a:pt x="307975" y="187325"/>
                  </a:lnTo>
                  <a:lnTo>
                    <a:pt x="365125" y="215900"/>
                  </a:lnTo>
                  <a:lnTo>
                    <a:pt x="514350" y="161925"/>
                  </a:lnTo>
                  <a:lnTo>
                    <a:pt x="561975" y="184150"/>
                  </a:lnTo>
                  <a:lnTo>
                    <a:pt x="663575" y="139700"/>
                  </a:lnTo>
                  <a:lnTo>
                    <a:pt x="774700" y="206375"/>
                  </a:lnTo>
                  <a:lnTo>
                    <a:pt x="835025" y="295275"/>
                  </a:lnTo>
                  <a:lnTo>
                    <a:pt x="800100" y="466725"/>
                  </a:lnTo>
                  <a:lnTo>
                    <a:pt x="793750" y="555625"/>
                  </a:lnTo>
                  <a:lnTo>
                    <a:pt x="835025" y="638175"/>
                  </a:lnTo>
                  <a:lnTo>
                    <a:pt x="739775" y="685800"/>
                  </a:lnTo>
                  <a:lnTo>
                    <a:pt x="698500" y="841375"/>
                  </a:lnTo>
                  <a:lnTo>
                    <a:pt x="514350" y="844550"/>
                  </a:lnTo>
                  <a:lnTo>
                    <a:pt x="441325" y="793750"/>
                  </a:lnTo>
                  <a:lnTo>
                    <a:pt x="454025" y="593725"/>
                  </a:lnTo>
                  <a:lnTo>
                    <a:pt x="450850" y="517525"/>
                  </a:lnTo>
                  <a:lnTo>
                    <a:pt x="346075" y="495300"/>
                  </a:lnTo>
                  <a:lnTo>
                    <a:pt x="320675" y="565150"/>
                  </a:lnTo>
                  <a:lnTo>
                    <a:pt x="209550" y="508000"/>
                  </a:lnTo>
                  <a:lnTo>
                    <a:pt x="171450" y="425450"/>
                  </a:lnTo>
                  <a:lnTo>
                    <a:pt x="142875" y="454025"/>
                  </a:lnTo>
                  <a:lnTo>
                    <a:pt x="92075" y="444500"/>
                  </a:lnTo>
                  <a:lnTo>
                    <a:pt x="44450" y="463550"/>
                  </a:lnTo>
                  <a:lnTo>
                    <a:pt x="53975" y="387350"/>
                  </a:lnTo>
                  <a:lnTo>
                    <a:pt x="3175" y="327025"/>
                  </a:lnTo>
                  <a:cubicBezTo>
                    <a:pt x="2117" y="276225"/>
                    <a:pt x="1058" y="225425"/>
                    <a:pt x="0" y="174625"/>
                  </a:cubicBezTo>
                  <a:lnTo>
                    <a:pt x="114300" y="92075"/>
                  </a:lnTo>
                  <a:lnTo>
                    <a:pt x="136525" y="41275"/>
                  </a:lnTo>
                  <a:close/>
                </a:path>
              </a:pathLst>
            </a:custGeom>
            <a:solidFill>
              <a:srgbClr val="92D050"/>
            </a:solidFill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80" name="Freeform 179"/>
            <p:cNvSpPr/>
            <p:nvPr/>
          </p:nvSpPr>
          <p:spPr>
            <a:xfrm>
              <a:off x="4764455" y="3347295"/>
              <a:ext cx="312553" cy="357544"/>
            </a:xfrm>
            <a:custGeom>
              <a:avLst/>
              <a:gdLst>
                <a:gd name="connsiteX0" fmla="*/ 304800 w 641350"/>
                <a:gd name="connsiteY0" fmla="*/ 768350 h 844550"/>
                <a:gd name="connsiteX1" fmla="*/ 415925 w 641350"/>
                <a:gd name="connsiteY1" fmla="*/ 844550 h 844550"/>
                <a:gd name="connsiteX2" fmla="*/ 485775 w 641350"/>
                <a:gd name="connsiteY2" fmla="*/ 796925 h 844550"/>
                <a:gd name="connsiteX3" fmla="*/ 517525 w 641350"/>
                <a:gd name="connsiteY3" fmla="*/ 774700 h 844550"/>
                <a:gd name="connsiteX4" fmla="*/ 504825 w 641350"/>
                <a:gd name="connsiteY4" fmla="*/ 676275 h 844550"/>
                <a:gd name="connsiteX5" fmla="*/ 587375 w 641350"/>
                <a:gd name="connsiteY5" fmla="*/ 568325 h 844550"/>
                <a:gd name="connsiteX6" fmla="*/ 558800 w 641350"/>
                <a:gd name="connsiteY6" fmla="*/ 495300 h 844550"/>
                <a:gd name="connsiteX7" fmla="*/ 641350 w 641350"/>
                <a:gd name="connsiteY7" fmla="*/ 450850 h 844550"/>
                <a:gd name="connsiteX8" fmla="*/ 514350 w 641350"/>
                <a:gd name="connsiteY8" fmla="*/ 355600 h 844550"/>
                <a:gd name="connsiteX9" fmla="*/ 441325 w 641350"/>
                <a:gd name="connsiteY9" fmla="*/ 311150 h 844550"/>
                <a:gd name="connsiteX10" fmla="*/ 454025 w 641350"/>
                <a:gd name="connsiteY10" fmla="*/ 98425 h 844550"/>
                <a:gd name="connsiteX11" fmla="*/ 454025 w 641350"/>
                <a:gd name="connsiteY11" fmla="*/ 31750 h 844550"/>
                <a:gd name="connsiteX12" fmla="*/ 352425 w 641350"/>
                <a:gd name="connsiteY12" fmla="*/ 0 h 844550"/>
                <a:gd name="connsiteX13" fmla="*/ 320675 w 641350"/>
                <a:gd name="connsiteY13" fmla="*/ 69850 h 844550"/>
                <a:gd name="connsiteX14" fmla="*/ 82550 w 641350"/>
                <a:gd name="connsiteY14" fmla="*/ 184150 h 844550"/>
                <a:gd name="connsiteX15" fmla="*/ 57150 w 641350"/>
                <a:gd name="connsiteY15" fmla="*/ 228600 h 844550"/>
                <a:gd name="connsiteX16" fmla="*/ 76200 w 641350"/>
                <a:gd name="connsiteY16" fmla="*/ 254000 h 844550"/>
                <a:gd name="connsiteX17" fmla="*/ 0 w 641350"/>
                <a:gd name="connsiteY17" fmla="*/ 482600 h 844550"/>
                <a:gd name="connsiteX18" fmla="*/ 15875 w 641350"/>
                <a:gd name="connsiteY18" fmla="*/ 581025 h 844550"/>
                <a:gd name="connsiteX19" fmla="*/ 60325 w 641350"/>
                <a:gd name="connsiteY19" fmla="*/ 628650 h 844550"/>
                <a:gd name="connsiteX20" fmla="*/ 200025 w 641350"/>
                <a:gd name="connsiteY20" fmla="*/ 631825 h 844550"/>
                <a:gd name="connsiteX21" fmla="*/ 260350 w 641350"/>
                <a:gd name="connsiteY21" fmla="*/ 666750 h 844550"/>
                <a:gd name="connsiteX22" fmla="*/ 222250 w 641350"/>
                <a:gd name="connsiteY22" fmla="*/ 714375 h 844550"/>
                <a:gd name="connsiteX23" fmla="*/ 304800 w 641350"/>
                <a:gd name="connsiteY23" fmla="*/ 768350 h 84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41350" h="844550">
                  <a:moveTo>
                    <a:pt x="304800" y="768350"/>
                  </a:moveTo>
                  <a:lnTo>
                    <a:pt x="415925" y="844550"/>
                  </a:lnTo>
                  <a:lnTo>
                    <a:pt x="485775" y="796925"/>
                  </a:lnTo>
                  <a:lnTo>
                    <a:pt x="517525" y="774700"/>
                  </a:lnTo>
                  <a:lnTo>
                    <a:pt x="504825" y="676275"/>
                  </a:lnTo>
                  <a:lnTo>
                    <a:pt x="587375" y="568325"/>
                  </a:lnTo>
                  <a:lnTo>
                    <a:pt x="558800" y="495300"/>
                  </a:lnTo>
                  <a:lnTo>
                    <a:pt x="641350" y="450850"/>
                  </a:lnTo>
                  <a:lnTo>
                    <a:pt x="514350" y="355600"/>
                  </a:lnTo>
                  <a:lnTo>
                    <a:pt x="441325" y="311150"/>
                  </a:lnTo>
                  <a:lnTo>
                    <a:pt x="454025" y="98425"/>
                  </a:lnTo>
                  <a:lnTo>
                    <a:pt x="454025" y="31750"/>
                  </a:lnTo>
                  <a:lnTo>
                    <a:pt x="352425" y="0"/>
                  </a:lnTo>
                  <a:lnTo>
                    <a:pt x="320675" y="69850"/>
                  </a:lnTo>
                  <a:lnTo>
                    <a:pt x="82550" y="184150"/>
                  </a:lnTo>
                  <a:lnTo>
                    <a:pt x="57150" y="228600"/>
                  </a:lnTo>
                  <a:lnTo>
                    <a:pt x="76200" y="254000"/>
                  </a:lnTo>
                  <a:lnTo>
                    <a:pt x="0" y="482600"/>
                  </a:lnTo>
                  <a:lnTo>
                    <a:pt x="15875" y="581025"/>
                  </a:lnTo>
                  <a:lnTo>
                    <a:pt x="60325" y="628650"/>
                  </a:lnTo>
                  <a:lnTo>
                    <a:pt x="200025" y="631825"/>
                  </a:lnTo>
                  <a:lnTo>
                    <a:pt x="260350" y="666750"/>
                  </a:lnTo>
                  <a:lnTo>
                    <a:pt x="222250" y="714375"/>
                  </a:lnTo>
                  <a:lnTo>
                    <a:pt x="304800" y="76835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81" name="Freeform 180"/>
            <p:cNvSpPr/>
            <p:nvPr/>
          </p:nvSpPr>
          <p:spPr>
            <a:xfrm>
              <a:off x="4900617" y="3590586"/>
              <a:ext cx="490493" cy="391145"/>
            </a:xfrm>
            <a:custGeom>
              <a:avLst/>
              <a:gdLst>
                <a:gd name="connsiteX0" fmla="*/ 0 w 1006475"/>
                <a:gd name="connsiteY0" fmla="*/ 203200 h 923925"/>
                <a:gd name="connsiteX1" fmla="*/ 44450 w 1006475"/>
                <a:gd name="connsiteY1" fmla="*/ 311150 h 923925"/>
                <a:gd name="connsiteX2" fmla="*/ 0 w 1006475"/>
                <a:gd name="connsiteY2" fmla="*/ 482600 h 923925"/>
                <a:gd name="connsiteX3" fmla="*/ 92075 w 1006475"/>
                <a:gd name="connsiteY3" fmla="*/ 511175 h 923925"/>
                <a:gd name="connsiteX4" fmla="*/ 92075 w 1006475"/>
                <a:gd name="connsiteY4" fmla="*/ 609600 h 923925"/>
                <a:gd name="connsiteX5" fmla="*/ 171450 w 1006475"/>
                <a:gd name="connsiteY5" fmla="*/ 733425 h 923925"/>
                <a:gd name="connsiteX6" fmla="*/ 184150 w 1006475"/>
                <a:gd name="connsiteY6" fmla="*/ 809625 h 923925"/>
                <a:gd name="connsiteX7" fmla="*/ 260350 w 1006475"/>
                <a:gd name="connsiteY7" fmla="*/ 904875 h 923925"/>
                <a:gd name="connsiteX8" fmla="*/ 333375 w 1006475"/>
                <a:gd name="connsiteY8" fmla="*/ 844550 h 923925"/>
                <a:gd name="connsiteX9" fmla="*/ 390525 w 1006475"/>
                <a:gd name="connsiteY9" fmla="*/ 796925 h 923925"/>
                <a:gd name="connsiteX10" fmla="*/ 444500 w 1006475"/>
                <a:gd name="connsiteY10" fmla="*/ 812800 h 923925"/>
                <a:gd name="connsiteX11" fmla="*/ 454025 w 1006475"/>
                <a:gd name="connsiteY11" fmla="*/ 882650 h 923925"/>
                <a:gd name="connsiteX12" fmla="*/ 549275 w 1006475"/>
                <a:gd name="connsiteY12" fmla="*/ 889000 h 923925"/>
                <a:gd name="connsiteX13" fmla="*/ 622300 w 1006475"/>
                <a:gd name="connsiteY13" fmla="*/ 882650 h 923925"/>
                <a:gd name="connsiteX14" fmla="*/ 635000 w 1006475"/>
                <a:gd name="connsiteY14" fmla="*/ 923925 h 923925"/>
                <a:gd name="connsiteX15" fmla="*/ 625475 w 1006475"/>
                <a:gd name="connsiteY15" fmla="*/ 825500 h 923925"/>
                <a:gd name="connsiteX16" fmla="*/ 654050 w 1006475"/>
                <a:gd name="connsiteY16" fmla="*/ 739775 h 923925"/>
                <a:gd name="connsiteX17" fmla="*/ 771525 w 1006475"/>
                <a:gd name="connsiteY17" fmla="*/ 781050 h 923925"/>
                <a:gd name="connsiteX18" fmla="*/ 838200 w 1006475"/>
                <a:gd name="connsiteY18" fmla="*/ 806450 h 923925"/>
                <a:gd name="connsiteX19" fmla="*/ 847725 w 1006475"/>
                <a:gd name="connsiteY19" fmla="*/ 723900 h 923925"/>
                <a:gd name="connsiteX20" fmla="*/ 873125 w 1006475"/>
                <a:gd name="connsiteY20" fmla="*/ 654050 h 923925"/>
                <a:gd name="connsiteX21" fmla="*/ 908050 w 1006475"/>
                <a:gd name="connsiteY21" fmla="*/ 536575 h 923925"/>
                <a:gd name="connsiteX22" fmla="*/ 895350 w 1006475"/>
                <a:gd name="connsiteY22" fmla="*/ 485775 h 923925"/>
                <a:gd name="connsiteX23" fmla="*/ 917575 w 1006475"/>
                <a:gd name="connsiteY23" fmla="*/ 438150 h 923925"/>
                <a:gd name="connsiteX24" fmla="*/ 968375 w 1006475"/>
                <a:gd name="connsiteY24" fmla="*/ 371475 h 923925"/>
                <a:gd name="connsiteX25" fmla="*/ 981075 w 1006475"/>
                <a:gd name="connsiteY25" fmla="*/ 311150 h 923925"/>
                <a:gd name="connsiteX26" fmla="*/ 996950 w 1006475"/>
                <a:gd name="connsiteY26" fmla="*/ 244475 h 923925"/>
                <a:gd name="connsiteX27" fmla="*/ 1006475 w 1006475"/>
                <a:gd name="connsiteY27" fmla="*/ 146050 h 923925"/>
                <a:gd name="connsiteX28" fmla="*/ 981075 w 1006475"/>
                <a:gd name="connsiteY28" fmla="*/ 120650 h 923925"/>
                <a:gd name="connsiteX29" fmla="*/ 784225 w 1006475"/>
                <a:gd name="connsiteY29" fmla="*/ 79375 h 923925"/>
                <a:gd name="connsiteX30" fmla="*/ 650875 w 1006475"/>
                <a:gd name="connsiteY30" fmla="*/ 25400 h 923925"/>
                <a:gd name="connsiteX31" fmla="*/ 307975 w 1006475"/>
                <a:gd name="connsiteY31" fmla="*/ 0 h 923925"/>
                <a:gd name="connsiteX32" fmla="*/ 215900 w 1006475"/>
                <a:gd name="connsiteY32" fmla="*/ 98425 h 923925"/>
                <a:gd name="connsiteX33" fmla="*/ 231775 w 1006475"/>
                <a:gd name="connsiteY33" fmla="*/ 203200 h 923925"/>
                <a:gd name="connsiteX34" fmla="*/ 139700 w 1006475"/>
                <a:gd name="connsiteY34" fmla="*/ 269875 h 923925"/>
                <a:gd name="connsiteX35" fmla="*/ 0 w 1006475"/>
                <a:gd name="connsiteY35" fmla="*/ 203200 h 923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06475" h="923925">
                  <a:moveTo>
                    <a:pt x="0" y="203200"/>
                  </a:moveTo>
                  <a:lnTo>
                    <a:pt x="44450" y="311150"/>
                  </a:lnTo>
                  <a:lnTo>
                    <a:pt x="0" y="482600"/>
                  </a:lnTo>
                  <a:lnTo>
                    <a:pt x="92075" y="511175"/>
                  </a:lnTo>
                  <a:lnTo>
                    <a:pt x="92075" y="609600"/>
                  </a:lnTo>
                  <a:lnTo>
                    <a:pt x="171450" y="733425"/>
                  </a:lnTo>
                  <a:lnTo>
                    <a:pt x="184150" y="809625"/>
                  </a:lnTo>
                  <a:lnTo>
                    <a:pt x="260350" y="904875"/>
                  </a:lnTo>
                  <a:lnTo>
                    <a:pt x="333375" y="844550"/>
                  </a:lnTo>
                  <a:lnTo>
                    <a:pt x="390525" y="796925"/>
                  </a:lnTo>
                  <a:lnTo>
                    <a:pt x="444500" y="812800"/>
                  </a:lnTo>
                  <a:lnTo>
                    <a:pt x="454025" y="882650"/>
                  </a:lnTo>
                  <a:lnTo>
                    <a:pt x="549275" y="889000"/>
                  </a:lnTo>
                  <a:lnTo>
                    <a:pt x="622300" y="882650"/>
                  </a:lnTo>
                  <a:lnTo>
                    <a:pt x="635000" y="923925"/>
                  </a:lnTo>
                  <a:lnTo>
                    <a:pt x="625475" y="825500"/>
                  </a:lnTo>
                  <a:lnTo>
                    <a:pt x="654050" y="739775"/>
                  </a:lnTo>
                  <a:lnTo>
                    <a:pt x="771525" y="781050"/>
                  </a:lnTo>
                  <a:lnTo>
                    <a:pt x="838200" y="806450"/>
                  </a:lnTo>
                  <a:lnTo>
                    <a:pt x="847725" y="723900"/>
                  </a:lnTo>
                  <a:lnTo>
                    <a:pt x="873125" y="654050"/>
                  </a:lnTo>
                  <a:lnTo>
                    <a:pt x="908050" y="536575"/>
                  </a:lnTo>
                  <a:lnTo>
                    <a:pt x="895350" y="485775"/>
                  </a:lnTo>
                  <a:lnTo>
                    <a:pt x="917575" y="438150"/>
                  </a:lnTo>
                  <a:lnTo>
                    <a:pt x="968375" y="371475"/>
                  </a:lnTo>
                  <a:lnTo>
                    <a:pt x="981075" y="311150"/>
                  </a:lnTo>
                  <a:lnTo>
                    <a:pt x="996950" y="244475"/>
                  </a:lnTo>
                  <a:lnTo>
                    <a:pt x="1006475" y="146050"/>
                  </a:lnTo>
                  <a:lnTo>
                    <a:pt x="981075" y="120650"/>
                  </a:lnTo>
                  <a:lnTo>
                    <a:pt x="784225" y="79375"/>
                  </a:lnTo>
                  <a:lnTo>
                    <a:pt x="650875" y="25400"/>
                  </a:lnTo>
                  <a:lnTo>
                    <a:pt x="307975" y="0"/>
                  </a:lnTo>
                  <a:lnTo>
                    <a:pt x="215900" y="98425"/>
                  </a:lnTo>
                  <a:lnTo>
                    <a:pt x="231775" y="203200"/>
                  </a:lnTo>
                  <a:lnTo>
                    <a:pt x="139700" y="269875"/>
                  </a:lnTo>
                  <a:lnTo>
                    <a:pt x="0" y="20320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82" name="Freeform 181"/>
            <p:cNvSpPr/>
            <p:nvPr/>
          </p:nvSpPr>
          <p:spPr>
            <a:xfrm>
              <a:off x="5021307" y="3312346"/>
              <a:ext cx="666885" cy="340069"/>
            </a:xfrm>
            <a:custGeom>
              <a:avLst/>
              <a:gdLst>
                <a:gd name="connsiteX0" fmla="*/ 0 w 1368425"/>
                <a:gd name="connsiteY0" fmla="*/ 431800 h 803275"/>
                <a:gd name="connsiteX1" fmla="*/ 117475 w 1368425"/>
                <a:gd name="connsiteY1" fmla="*/ 546100 h 803275"/>
                <a:gd name="connsiteX2" fmla="*/ 38100 w 1368425"/>
                <a:gd name="connsiteY2" fmla="*/ 561975 h 803275"/>
                <a:gd name="connsiteX3" fmla="*/ 66675 w 1368425"/>
                <a:gd name="connsiteY3" fmla="*/ 654050 h 803275"/>
                <a:gd name="connsiteX4" fmla="*/ 412750 w 1368425"/>
                <a:gd name="connsiteY4" fmla="*/ 692150 h 803275"/>
                <a:gd name="connsiteX5" fmla="*/ 549275 w 1368425"/>
                <a:gd name="connsiteY5" fmla="*/ 733425 h 803275"/>
                <a:gd name="connsiteX6" fmla="*/ 765175 w 1368425"/>
                <a:gd name="connsiteY6" fmla="*/ 803275 h 803275"/>
                <a:gd name="connsiteX7" fmla="*/ 835025 w 1368425"/>
                <a:gd name="connsiteY7" fmla="*/ 673100 h 803275"/>
                <a:gd name="connsiteX8" fmla="*/ 930275 w 1368425"/>
                <a:gd name="connsiteY8" fmla="*/ 638175 h 803275"/>
                <a:gd name="connsiteX9" fmla="*/ 993775 w 1368425"/>
                <a:gd name="connsiteY9" fmla="*/ 676275 h 803275"/>
                <a:gd name="connsiteX10" fmla="*/ 968375 w 1368425"/>
                <a:gd name="connsiteY10" fmla="*/ 603250 h 803275"/>
                <a:gd name="connsiteX11" fmla="*/ 1006475 w 1368425"/>
                <a:gd name="connsiteY11" fmla="*/ 546100 h 803275"/>
                <a:gd name="connsiteX12" fmla="*/ 1012825 w 1368425"/>
                <a:gd name="connsiteY12" fmla="*/ 466725 h 803275"/>
                <a:gd name="connsiteX13" fmla="*/ 1050925 w 1368425"/>
                <a:gd name="connsiteY13" fmla="*/ 460375 h 803275"/>
                <a:gd name="connsiteX14" fmla="*/ 1082675 w 1368425"/>
                <a:gd name="connsiteY14" fmla="*/ 488950 h 803275"/>
                <a:gd name="connsiteX15" fmla="*/ 1120775 w 1368425"/>
                <a:gd name="connsiteY15" fmla="*/ 450850 h 803275"/>
                <a:gd name="connsiteX16" fmla="*/ 1241425 w 1368425"/>
                <a:gd name="connsiteY16" fmla="*/ 498475 h 803275"/>
                <a:gd name="connsiteX17" fmla="*/ 1254125 w 1368425"/>
                <a:gd name="connsiteY17" fmla="*/ 406400 h 803275"/>
                <a:gd name="connsiteX18" fmla="*/ 1285875 w 1368425"/>
                <a:gd name="connsiteY18" fmla="*/ 412750 h 803275"/>
                <a:gd name="connsiteX19" fmla="*/ 1301750 w 1368425"/>
                <a:gd name="connsiteY19" fmla="*/ 390525 h 803275"/>
                <a:gd name="connsiteX20" fmla="*/ 1257300 w 1368425"/>
                <a:gd name="connsiteY20" fmla="*/ 342900 h 803275"/>
                <a:gd name="connsiteX21" fmla="*/ 1320800 w 1368425"/>
                <a:gd name="connsiteY21" fmla="*/ 342900 h 803275"/>
                <a:gd name="connsiteX22" fmla="*/ 1346200 w 1368425"/>
                <a:gd name="connsiteY22" fmla="*/ 368300 h 803275"/>
                <a:gd name="connsiteX23" fmla="*/ 1355725 w 1368425"/>
                <a:gd name="connsiteY23" fmla="*/ 323850 h 803275"/>
                <a:gd name="connsiteX24" fmla="*/ 1368425 w 1368425"/>
                <a:gd name="connsiteY24" fmla="*/ 282575 h 803275"/>
                <a:gd name="connsiteX25" fmla="*/ 1206500 w 1368425"/>
                <a:gd name="connsiteY25" fmla="*/ 244475 h 803275"/>
                <a:gd name="connsiteX26" fmla="*/ 1155700 w 1368425"/>
                <a:gd name="connsiteY26" fmla="*/ 234950 h 803275"/>
                <a:gd name="connsiteX27" fmla="*/ 1092200 w 1368425"/>
                <a:gd name="connsiteY27" fmla="*/ 136525 h 803275"/>
                <a:gd name="connsiteX28" fmla="*/ 990600 w 1368425"/>
                <a:gd name="connsiteY28" fmla="*/ 184150 h 803275"/>
                <a:gd name="connsiteX29" fmla="*/ 936625 w 1368425"/>
                <a:gd name="connsiteY29" fmla="*/ 250825 h 803275"/>
                <a:gd name="connsiteX30" fmla="*/ 831850 w 1368425"/>
                <a:gd name="connsiteY30" fmla="*/ 146050 h 803275"/>
                <a:gd name="connsiteX31" fmla="*/ 774700 w 1368425"/>
                <a:gd name="connsiteY31" fmla="*/ 92075 h 803275"/>
                <a:gd name="connsiteX32" fmla="*/ 695325 w 1368425"/>
                <a:gd name="connsiteY32" fmla="*/ 139700 h 803275"/>
                <a:gd name="connsiteX33" fmla="*/ 628650 w 1368425"/>
                <a:gd name="connsiteY33" fmla="*/ 53975 h 803275"/>
                <a:gd name="connsiteX34" fmla="*/ 488950 w 1368425"/>
                <a:gd name="connsiteY34" fmla="*/ 53975 h 803275"/>
                <a:gd name="connsiteX35" fmla="*/ 409575 w 1368425"/>
                <a:gd name="connsiteY35" fmla="*/ 0 h 803275"/>
                <a:gd name="connsiteX36" fmla="*/ 285750 w 1368425"/>
                <a:gd name="connsiteY36" fmla="*/ 63500 h 803275"/>
                <a:gd name="connsiteX37" fmla="*/ 269875 w 1368425"/>
                <a:gd name="connsiteY37" fmla="*/ 139700 h 803275"/>
                <a:gd name="connsiteX38" fmla="*/ 304800 w 1368425"/>
                <a:gd name="connsiteY38" fmla="*/ 225425 h 803275"/>
                <a:gd name="connsiteX39" fmla="*/ 212725 w 1368425"/>
                <a:gd name="connsiteY39" fmla="*/ 260350 h 803275"/>
                <a:gd name="connsiteX40" fmla="*/ 161925 w 1368425"/>
                <a:gd name="connsiteY40" fmla="*/ 419100 h 803275"/>
                <a:gd name="connsiteX41" fmla="*/ 0 w 1368425"/>
                <a:gd name="connsiteY41" fmla="*/ 431800 h 803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68425" h="803275">
                  <a:moveTo>
                    <a:pt x="0" y="431800"/>
                  </a:moveTo>
                  <a:lnTo>
                    <a:pt x="117475" y="546100"/>
                  </a:lnTo>
                  <a:lnTo>
                    <a:pt x="38100" y="561975"/>
                  </a:lnTo>
                  <a:lnTo>
                    <a:pt x="66675" y="654050"/>
                  </a:lnTo>
                  <a:lnTo>
                    <a:pt x="412750" y="692150"/>
                  </a:lnTo>
                  <a:lnTo>
                    <a:pt x="549275" y="733425"/>
                  </a:lnTo>
                  <a:lnTo>
                    <a:pt x="765175" y="803275"/>
                  </a:lnTo>
                  <a:lnTo>
                    <a:pt x="835025" y="673100"/>
                  </a:lnTo>
                  <a:lnTo>
                    <a:pt x="930275" y="638175"/>
                  </a:lnTo>
                  <a:lnTo>
                    <a:pt x="993775" y="676275"/>
                  </a:lnTo>
                  <a:lnTo>
                    <a:pt x="968375" y="603250"/>
                  </a:lnTo>
                  <a:lnTo>
                    <a:pt x="1006475" y="546100"/>
                  </a:lnTo>
                  <a:lnTo>
                    <a:pt x="1012825" y="466725"/>
                  </a:lnTo>
                  <a:lnTo>
                    <a:pt x="1050925" y="460375"/>
                  </a:lnTo>
                  <a:lnTo>
                    <a:pt x="1082675" y="488950"/>
                  </a:lnTo>
                  <a:lnTo>
                    <a:pt x="1120775" y="450850"/>
                  </a:lnTo>
                  <a:lnTo>
                    <a:pt x="1241425" y="498475"/>
                  </a:lnTo>
                  <a:lnTo>
                    <a:pt x="1254125" y="406400"/>
                  </a:lnTo>
                  <a:lnTo>
                    <a:pt x="1285875" y="412750"/>
                  </a:lnTo>
                  <a:lnTo>
                    <a:pt x="1301750" y="390525"/>
                  </a:lnTo>
                  <a:lnTo>
                    <a:pt x="1257300" y="342900"/>
                  </a:lnTo>
                  <a:lnTo>
                    <a:pt x="1320800" y="342900"/>
                  </a:lnTo>
                  <a:lnTo>
                    <a:pt x="1346200" y="368300"/>
                  </a:lnTo>
                  <a:lnTo>
                    <a:pt x="1355725" y="323850"/>
                  </a:lnTo>
                  <a:lnTo>
                    <a:pt x="1368425" y="282575"/>
                  </a:lnTo>
                  <a:lnTo>
                    <a:pt x="1206500" y="244475"/>
                  </a:lnTo>
                  <a:lnTo>
                    <a:pt x="1155700" y="234950"/>
                  </a:lnTo>
                  <a:lnTo>
                    <a:pt x="1092200" y="136525"/>
                  </a:lnTo>
                  <a:lnTo>
                    <a:pt x="990600" y="184150"/>
                  </a:lnTo>
                  <a:lnTo>
                    <a:pt x="936625" y="250825"/>
                  </a:lnTo>
                  <a:lnTo>
                    <a:pt x="831850" y="146050"/>
                  </a:lnTo>
                  <a:lnTo>
                    <a:pt x="774700" y="92075"/>
                  </a:lnTo>
                  <a:lnTo>
                    <a:pt x="695325" y="139700"/>
                  </a:lnTo>
                  <a:lnTo>
                    <a:pt x="628650" y="53975"/>
                  </a:lnTo>
                  <a:lnTo>
                    <a:pt x="488950" y="53975"/>
                  </a:lnTo>
                  <a:lnTo>
                    <a:pt x="409575" y="0"/>
                  </a:lnTo>
                  <a:lnTo>
                    <a:pt x="285750" y="63500"/>
                  </a:lnTo>
                  <a:lnTo>
                    <a:pt x="269875" y="139700"/>
                  </a:lnTo>
                  <a:lnTo>
                    <a:pt x="304800" y="225425"/>
                  </a:lnTo>
                  <a:lnTo>
                    <a:pt x="212725" y="260350"/>
                  </a:lnTo>
                  <a:lnTo>
                    <a:pt x="161925" y="419100"/>
                  </a:lnTo>
                  <a:lnTo>
                    <a:pt x="0" y="43180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83" name="Freeform 182"/>
            <p:cNvSpPr/>
            <p:nvPr/>
          </p:nvSpPr>
          <p:spPr>
            <a:xfrm>
              <a:off x="5418963" y="3035450"/>
              <a:ext cx="652959" cy="477170"/>
            </a:xfrm>
            <a:custGeom>
              <a:avLst/>
              <a:gdLst>
                <a:gd name="connsiteX0" fmla="*/ 117475 w 1339850"/>
                <a:gd name="connsiteY0" fmla="*/ 304800 h 1127125"/>
                <a:gd name="connsiteX1" fmla="*/ 142875 w 1339850"/>
                <a:gd name="connsiteY1" fmla="*/ 425450 h 1127125"/>
                <a:gd name="connsiteX2" fmla="*/ 0 w 1339850"/>
                <a:gd name="connsiteY2" fmla="*/ 692150 h 1127125"/>
                <a:gd name="connsiteX3" fmla="*/ 9525 w 1339850"/>
                <a:gd name="connsiteY3" fmla="*/ 784225 h 1127125"/>
                <a:gd name="connsiteX4" fmla="*/ 123825 w 1339850"/>
                <a:gd name="connsiteY4" fmla="*/ 892175 h 1127125"/>
                <a:gd name="connsiteX5" fmla="*/ 165100 w 1339850"/>
                <a:gd name="connsiteY5" fmla="*/ 825500 h 1127125"/>
                <a:gd name="connsiteX6" fmla="*/ 282575 w 1339850"/>
                <a:gd name="connsiteY6" fmla="*/ 803275 h 1127125"/>
                <a:gd name="connsiteX7" fmla="*/ 339725 w 1339850"/>
                <a:gd name="connsiteY7" fmla="*/ 879475 h 1127125"/>
                <a:gd name="connsiteX8" fmla="*/ 568325 w 1339850"/>
                <a:gd name="connsiteY8" fmla="*/ 946150 h 1127125"/>
                <a:gd name="connsiteX9" fmla="*/ 603250 w 1339850"/>
                <a:gd name="connsiteY9" fmla="*/ 936625 h 1127125"/>
                <a:gd name="connsiteX10" fmla="*/ 682625 w 1339850"/>
                <a:gd name="connsiteY10" fmla="*/ 1003300 h 1127125"/>
                <a:gd name="connsiteX11" fmla="*/ 768350 w 1339850"/>
                <a:gd name="connsiteY11" fmla="*/ 1003300 h 1127125"/>
                <a:gd name="connsiteX12" fmla="*/ 942975 w 1339850"/>
                <a:gd name="connsiteY12" fmla="*/ 1127125 h 1127125"/>
                <a:gd name="connsiteX13" fmla="*/ 1000125 w 1339850"/>
                <a:gd name="connsiteY13" fmla="*/ 1060450 h 1127125"/>
                <a:gd name="connsiteX14" fmla="*/ 942975 w 1339850"/>
                <a:gd name="connsiteY14" fmla="*/ 993775 h 1127125"/>
                <a:gd name="connsiteX15" fmla="*/ 889000 w 1339850"/>
                <a:gd name="connsiteY15" fmla="*/ 955675 h 1127125"/>
                <a:gd name="connsiteX16" fmla="*/ 889000 w 1339850"/>
                <a:gd name="connsiteY16" fmla="*/ 898525 h 1127125"/>
                <a:gd name="connsiteX17" fmla="*/ 857250 w 1339850"/>
                <a:gd name="connsiteY17" fmla="*/ 857250 h 1127125"/>
                <a:gd name="connsiteX18" fmla="*/ 879475 w 1339850"/>
                <a:gd name="connsiteY18" fmla="*/ 809625 h 1127125"/>
                <a:gd name="connsiteX19" fmla="*/ 930275 w 1339850"/>
                <a:gd name="connsiteY19" fmla="*/ 819150 h 1127125"/>
                <a:gd name="connsiteX20" fmla="*/ 968375 w 1339850"/>
                <a:gd name="connsiteY20" fmla="*/ 771525 h 1127125"/>
                <a:gd name="connsiteX21" fmla="*/ 1009650 w 1339850"/>
                <a:gd name="connsiteY21" fmla="*/ 762000 h 1127125"/>
                <a:gd name="connsiteX22" fmla="*/ 1041400 w 1339850"/>
                <a:gd name="connsiteY22" fmla="*/ 650875 h 1127125"/>
                <a:gd name="connsiteX23" fmla="*/ 1063625 w 1339850"/>
                <a:gd name="connsiteY23" fmla="*/ 666750 h 1127125"/>
                <a:gd name="connsiteX24" fmla="*/ 1120775 w 1339850"/>
                <a:gd name="connsiteY24" fmla="*/ 606425 h 1127125"/>
                <a:gd name="connsiteX25" fmla="*/ 1193800 w 1339850"/>
                <a:gd name="connsiteY25" fmla="*/ 660400 h 1127125"/>
                <a:gd name="connsiteX26" fmla="*/ 1190625 w 1339850"/>
                <a:gd name="connsiteY26" fmla="*/ 682625 h 1127125"/>
                <a:gd name="connsiteX27" fmla="*/ 1250950 w 1339850"/>
                <a:gd name="connsiteY27" fmla="*/ 669925 h 1127125"/>
                <a:gd name="connsiteX28" fmla="*/ 1298575 w 1339850"/>
                <a:gd name="connsiteY28" fmla="*/ 704850 h 1127125"/>
                <a:gd name="connsiteX29" fmla="*/ 1339850 w 1339850"/>
                <a:gd name="connsiteY29" fmla="*/ 663575 h 1127125"/>
                <a:gd name="connsiteX30" fmla="*/ 1304925 w 1339850"/>
                <a:gd name="connsiteY30" fmla="*/ 619125 h 1127125"/>
                <a:gd name="connsiteX31" fmla="*/ 1235075 w 1339850"/>
                <a:gd name="connsiteY31" fmla="*/ 590550 h 1127125"/>
                <a:gd name="connsiteX32" fmla="*/ 1270000 w 1339850"/>
                <a:gd name="connsiteY32" fmla="*/ 533400 h 1127125"/>
                <a:gd name="connsiteX33" fmla="*/ 1285875 w 1339850"/>
                <a:gd name="connsiteY33" fmla="*/ 508000 h 1127125"/>
                <a:gd name="connsiteX34" fmla="*/ 1260475 w 1339850"/>
                <a:gd name="connsiteY34" fmla="*/ 479425 h 1127125"/>
                <a:gd name="connsiteX35" fmla="*/ 1327150 w 1339850"/>
                <a:gd name="connsiteY35" fmla="*/ 396875 h 1127125"/>
                <a:gd name="connsiteX36" fmla="*/ 1295400 w 1339850"/>
                <a:gd name="connsiteY36" fmla="*/ 365125 h 1127125"/>
                <a:gd name="connsiteX37" fmla="*/ 1244600 w 1339850"/>
                <a:gd name="connsiteY37" fmla="*/ 346075 h 1127125"/>
                <a:gd name="connsiteX38" fmla="*/ 1244600 w 1339850"/>
                <a:gd name="connsiteY38" fmla="*/ 304800 h 1127125"/>
                <a:gd name="connsiteX39" fmla="*/ 1216025 w 1339850"/>
                <a:gd name="connsiteY39" fmla="*/ 279400 h 1127125"/>
                <a:gd name="connsiteX40" fmla="*/ 1155700 w 1339850"/>
                <a:gd name="connsiteY40" fmla="*/ 311150 h 1127125"/>
                <a:gd name="connsiteX41" fmla="*/ 1120775 w 1339850"/>
                <a:gd name="connsiteY41" fmla="*/ 219075 h 1127125"/>
                <a:gd name="connsiteX42" fmla="*/ 1079500 w 1339850"/>
                <a:gd name="connsiteY42" fmla="*/ 219075 h 1127125"/>
                <a:gd name="connsiteX43" fmla="*/ 1076325 w 1339850"/>
                <a:gd name="connsiteY43" fmla="*/ 165100 h 1127125"/>
                <a:gd name="connsiteX44" fmla="*/ 1101725 w 1339850"/>
                <a:gd name="connsiteY44" fmla="*/ 142875 h 1127125"/>
                <a:gd name="connsiteX45" fmla="*/ 1073150 w 1339850"/>
                <a:gd name="connsiteY45" fmla="*/ 107950 h 1127125"/>
                <a:gd name="connsiteX46" fmla="*/ 1044575 w 1339850"/>
                <a:gd name="connsiteY46" fmla="*/ 82550 h 1127125"/>
                <a:gd name="connsiteX47" fmla="*/ 993775 w 1339850"/>
                <a:gd name="connsiteY47" fmla="*/ 85725 h 1127125"/>
                <a:gd name="connsiteX48" fmla="*/ 936625 w 1339850"/>
                <a:gd name="connsiteY48" fmla="*/ 0 h 1127125"/>
                <a:gd name="connsiteX49" fmla="*/ 962025 w 1339850"/>
                <a:gd name="connsiteY49" fmla="*/ 254000 h 1127125"/>
                <a:gd name="connsiteX50" fmla="*/ 847725 w 1339850"/>
                <a:gd name="connsiteY50" fmla="*/ 238125 h 1127125"/>
                <a:gd name="connsiteX51" fmla="*/ 831850 w 1339850"/>
                <a:gd name="connsiteY51" fmla="*/ 203200 h 1127125"/>
                <a:gd name="connsiteX52" fmla="*/ 717550 w 1339850"/>
                <a:gd name="connsiteY52" fmla="*/ 320675 h 1127125"/>
                <a:gd name="connsiteX53" fmla="*/ 590550 w 1339850"/>
                <a:gd name="connsiteY53" fmla="*/ 371475 h 1127125"/>
                <a:gd name="connsiteX54" fmla="*/ 469900 w 1339850"/>
                <a:gd name="connsiteY54" fmla="*/ 368300 h 1127125"/>
                <a:gd name="connsiteX55" fmla="*/ 244475 w 1339850"/>
                <a:gd name="connsiteY55" fmla="*/ 355600 h 1127125"/>
                <a:gd name="connsiteX56" fmla="*/ 117475 w 1339850"/>
                <a:gd name="connsiteY56" fmla="*/ 304800 h 112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339850" h="1127125">
                  <a:moveTo>
                    <a:pt x="117475" y="304800"/>
                  </a:moveTo>
                  <a:lnTo>
                    <a:pt x="142875" y="425450"/>
                  </a:lnTo>
                  <a:lnTo>
                    <a:pt x="0" y="692150"/>
                  </a:lnTo>
                  <a:lnTo>
                    <a:pt x="9525" y="784225"/>
                  </a:lnTo>
                  <a:lnTo>
                    <a:pt x="123825" y="892175"/>
                  </a:lnTo>
                  <a:lnTo>
                    <a:pt x="165100" y="825500"/>
                  </a:lnTo>
                  <a:lnTo>
                    <a:pt x="282575" y="803275"/>
                  </a:lnTo>
                  <a:lnTo>
                    <a:pt x="339725" y="879475"/>
                  </a:lnTo>
                  <a:lnTo>
                    <a:pt x="568325" y="946150"/>
                  </a:lnTo>
                  <a:lnTo>
                    <a:pt x="603250" y="936625"/>
                  </a:lnTo>
                  <a:lnTo>
                    <a:pt x="682625" y="1003300"/>
                  </a:lnTo>
                  <a:lnTo>
                    <a:pt x="768350" y="1003300"/>
                  </a:lnTo>
                  <a:lnTo>
                    <a:pt x="942975" y="1127125"/>
                  </a:lnTo>
                  <a:lnTo>
                    <a:pt x="1000125" y="1060450"/>
                  </a:lnTo>
                  <a:lnTo>
                    <a:pt x="942975" y="993775"/>
                  </a:lnTo>
                  <a:lnTo>
                    <a:pt x="889000" y="955675"/>
                  </a:lnTo>
                  <a:lnTo>
                    <a:pt x="889000" y="898525"/>
                  </a:lnTo>
                  <a:lnTo>
                    <a:pt x="857250" y="857250"/>
                  </a:lnTo>
                  <a:lnTo>
                    <a:pt x="879475" y="809625"/>
                  </a:lnTo>
                  <a:lnTo>
                    <a:pt x="930275" y="819150"/>
                  </a:lnTo>
                  <a:lnTo>
                    <a:pt x="968375" y="771525"/>
                  </a:lnTo>
                  <a:lnTo>
                    <a:pt x="1009650" y="762000"/>
                  </a:lnTo>
                  <a:lnTo>
                    <a:pt x="1041400" y="650875"/>
                  </a:lnTo>
                  <a:lnTo>
                    <a:pt x="1063625" y="666750"/>
                  </a:lnTo>
                  <a:lnTo>
                    <a:pt x="1120775" y="606425"/>
                  </a:lnTo>
                  <a:lnTo>
                    <a:pt x="1193800" y="660400"/>
                  </a:lnTo>
                  <a:lnTo>
                    <a:pt x="1190625" y="682625"/>
                  </a:lnTo>
                  <a:lnTo>
                    <a:pt x="1250950" y="669925"/>
                  </a:lnTo>
                  <a:lnTo>
                    <a:pt x="1298575" y="704850"/>
                  </a:lnTo>
                  <a:lnTo>
                    <a:pt x="1339850" y="663575"/>
                  </a:lnTo>
                  <a:lnTo>
                    <a:pt x="1304925" y="619125"/>
                  </a:lnTo>
                  <a:lnTo>
                    <a:pt x="1235075" y="590550"/>
                  </a:lnTo>
                  <a:lnTo>
                    <a:pt x="1270000" y="533400"/>
                  </a:lnTo>
                  <a:lnTo>
                    <a:pt x="1285875" y="508000"/>
                  </a:lnTo>
                  <a:lnTo>
                    <a:pt x="1260475" y="479425"/>
                  </a:lnTo>
                  <a:lnTo>
                    <a:pt x="1327150" y="396875"/>
                  </a:lnTo>
                  <a:lnTo>
                    <a:pt x="1295400" y="365125"/>
                  </a:lnTo>
                  <a:lnTo>
                    <a:pt x="1244600" y="346075"/>
                  </a:lnTo>
                  <a:lnTo>
                    <a:pt x="1244600" y="304800"/>
                  </a:lnTo>
                  <a:lnTo>
                    <a:pt x="1216025" y="279400"/>
                  </a:lnTo>
                  <a:lnTo>
                    <a:pt x="1155700" y="311150"/>
                  </a:lnTo>
                  <a:lnTo>
                    <a:pt x="1120775" y="219075"/>
                  </a:lnTo>
                  <a:lnTo>
                    <a:pt x="1079500" y="219075"/>
                  </a:lnTo>
                  <a:lnTo>
                    <a:pt x="1076325" y="165100"/>
                  </a:lnTo>
                  <a:lnTo>
                    <a:pt x="1101725" y="142875"/>
                  </a:lnTo>
                  <a:lnTo>
                    <a:pt x="1073150" y="107950"/>
                  </a:lnTo>
                  <a:lnTo>
                    <a:pt x="1044575" y="82550"/>
                  </a:lnTo>
                  <a:lnTo>
                    <a:pt x="993775" y="85725"/>
                  </a:lnTo>
                  <a:lnTo>
                    <a:pt x="936625" y="0"/>
                  </a:lnTo>
                  <a:lnTo>
                    <a:pt x="962025" y="254000"/>
                  </a:lnTo>
                  <a:lnTo>
                    <a:pt x="847725" y="238125"/>
                  </a:lnTo>
                  <a:lnTo>
                    <a:pt x="831850" y="203200"/>
                  </a:lnTo>
                  <a:lnTo>
                    <a:pt x="717550" y="320675"/>
                  </a:lnTo>
                  <a:lnTo>
                    <a:pt x="590550" y="371475"/>
                  </a:lnTo>
                  <a:lnTo>
                    <a:pt x="469900" y="368300"/>
                  </a:lnTo>
                  <a:lnTo>
                    <a:pt x="244475" y="355600"/>
                  </a:lnTo>
                  <a:lnTo>
                    <a:pt x="117475" y="304800"/>
                  </a:lnTo>
                  <a:close/>
                </a:path>
              </a:pathLst>
            </a:custGeom>
            <a:noFill/>
            <a:ln w="952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224" name="Group 223"/>
          <p:cNvGrpSpPr/>
          <p:nvPr/>
        </p:nvGrpSpPr>
        <p:grpSpPr>
          <a:xfrm>
            <a:off x="10309083" y="1211250"/>
            <a:ext cx="2182004" cy="4720309"/>
            <a:chOff x="7826407" y="927460"/>
            <a:chExt cx="1636503" cy="5064147"/>
          </a:xfrm>
        </p:grpSpPr>
        <p:grpSp>
          <p:nvGrpSpPr>
            <p:cNvPr id="225" name="Group 224"/>
            <p:cNvGrpSpPr/>
            <p:nvPr/>
          </p:nvGrpSpPr>
          <p:grpSpPr>
            <a:xfrm>
              <a:off x="7970100" y="927460"/>
              <a:ext cx="1492810" cy="4846320"/>
              <a:chOff x="7970100" y="1175657"/>
              <a:chExt cx="1492810" cy="4846320"/>
            </a:xfrm>
          </p:grpSpPr>
          <p:sp>
            <p:nvSpPr>
              <p:cNvPr id="227" name="Isosceles Triangle 226"/>
              <p:cNvSpPr/>
              <p:nvPr/>
            </p:nvSpPr>
            <p:spPr bwMode="auto">
              <a:xfrm rot="16200000">
                <a:off x="6138405" y="3219994"/>
                <a:ext cx="4846320" cy="757646"/>
              </a:xfrm>
              <a:prstGeom prst="triangle">
                <a:avLst>
                  <a:gd name="adj" fmla="val 0"/>
                </a:avLst>
              </a:prstGeom>
              <a:solidFill>
                <a:sysClr val="window" lastClr="FFFFFF">
                  <a:lumMod val="85000"/>
                </a:sysClr>
              </a:solidFill>
              <a:ln w="12700" cap="sq" cmpd="sng" algn="ctr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46800" tIns="45720" rIns="4680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229" name="TextBox 228"/>
              <p:cNvSpPr txBox="1"/>
              <p:nvPr/>
            </p:nvSpPr>
            <p:spPr>
              <a:xfrm>
                <a:off x="7970100" y="1177738"/>
                <a:ext cx="1492810" cy="17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cs typeface="Times New Roman" pitchFamily="18" charset="0"/>
                  </a:rPr>
                  <a:t>2012</a:t>
                </a:r>
              </a:p>
            </p:txBody>
          </p:sp>
        </p:grpSp>
        <p:sp>
          <p:nvSpPr>
            <p:cNvPr id="226" name="TextBox 225"/>
            <p:cNvSpPr txBox="1"/>
            <p:nvPr/>
          </p:nvSpPr>
          <p:spPr>
            <a:xfrm>
              <a:off x="7826407" y="5818254"/>
              <a:ext cx="1492810" cy="17335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2014</a:t>
              </a:r>
            </a:p>
          </p:txBody>
        </p:sp>
      </p:grpSp>
      <p:sp>
        <p:nvSpPr>
          <p:cNvPr id="237" name="Isosceles Triangle 236"/>
          <p:cNvSpPr/>
          <p:nvPr/>
        </p:nvSpPr>
        <p:spPr bwMode="auto">
          <a:xfrm rot="10800000">
            <a:off x="5060407" y="3767506"/>
            <a:ext cx="2724628" cy="348833"/>
          </a:xfrm>
          <a:prstGeom prst="triangle">
            <a:avLst/>
          </a:prstGeom>
          <a:gradFill flip="none" rotWithShape="1">
            <a:gsLst>
              <a:gs pos="0">
                <a:sysClr val="window" lastClr="FFFFFF">
                  <a:lumMod val="65000"/>
                </a:sysClr>
              </a:gs>
              <a:gs pos="100000">
                <a:sysClr val="window" lastClr="FFFFFF"/>
              </a:gs>
            </a:gsLst>
            <a:lin ang="5400000" scaled="1"/>
            <a:tileRect/>
          </a:gradFill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46800" tIns="45720" rIns="468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239" name="Group 238"/>
          <p:cNvGrpSpPr/>
          <p:nvPr/>
        </p:nvGrpSpPr>
        <p:grpSpPr>
          <a:xfrm>
            <a:off x="5459795" y="2582092"/>
            <a:ext cx="2648017" cy="2039562"/>
            <a:chOff x="3956253" y="1212823"/>
            <a:chExt cx="1986013" cy="2039562"/>
          </a:xfrm>
        </p:grpSpPr>
        <p:pic>
          <p:nvPicPr>
            <p:cNvPr id="240" name="Picture 4" descr="http://www.clipartlord.com/wp-content/uploads/2014/05/hospital6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3693" y="1212823"/>
              <a:ext cx="917206" cy="7636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1" name="TextBox 240"/>
            <p:cNvSpPr txBox="1"/>
            <p:nvPr/>
          </p:nvSpPr>
          <p:spPr>
            <a:xfrm>
              <a:off x="3956253" y="1975621"/>
              <a:ext cx="1914425" cy="16158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50" b="1" i="1" kern="0" dirty="0">
                  <a:solidFill>
                    <a:prstClr val="black"/>
                  </a:solidFill>
                  <a:latin typeface="Arial"/>
                  <a:cs typeface="Times New Roman" pitchFamily="18" charset="0"/>
                </a:rPr>
                <a:t>8</a:t>
              </a:r>
              <a:r>
                <a:rPr kumimoji="0" lang="en-US" sz="105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0 facilities</a:t>
              </a:r>
            </a:p>
          </p:txBody>
        </p:sp>
        <p:cxnSp>
          <p:nvCxnSpPr>
            <p:cNvPr id="242" name="Elbow Connector 241"/>
            <p:cNvCxnSpPr>
              <a:stCxn id="241" idx="2"/>
              <a:endCxn id="244" idx="0"/>
            </p:cNvCxnSpPr>
            <p:nvPr/>
          </p:nvCxnSpPr>
          <p:spPr bwMode="auto">
            <a:xfrm rot="5400000">
              <a:off x="4555757" y="2020033"/>
              <a:ext cx="240539" cy="474880"/>
            </a:xfrm>
            <a:prstGeom prst="bentConnector3">
              <a:avLst>
                <a:gd name="adj1" fmla="val 50000"/>
              </a:avLst>
            </a:prstGeom>
            <a:solidFill>
              <a:srgbClr val="4F81BD"/>
            </a:solidFill>
            <a:ln w="12700" cap="sq" cmpd="sng" algn="ctr">
              <a:solidFill>
                <a:sysClr val="window" lastClr="FFFFFF">
                  <a:lumMod val="75000"/>
                </a:sys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43" name="Elbow Connector 242"/>
            <p:cNvCxnSpPr>
              <a:stCxn id="241" idx="2"/>
              <a:endCxn id="246" idx="0"/>
            </p:cNvCxnSpPr>
            <p:nvPr/>
          </p:nvCxnSpPr>
          <p:spPr bwMode="auto">
            <a:xfrm rot="16200000" flipH="1">
              <a:off x="5044861" y="2005809"/>
              <a:ext cx="240539" cy="503328"/>
            </a:xfrm>
            <a:prstGeom prst="bentConnector3">
              <a:avLst>
                <a:gd name="adj1" fmla="val 50000"/>
              </a:avLst>
            </a:prstGeom>
            <a:solidFill>
              <a:srgbClr val="4F81BD"/>
            </a:solidFill>
            <a:ln w="12700" cap="sq" cmpd="sng" algn="ctr">
              <a:solidFill>
                <a:sysClr val="window" lastClr="FFFFFF">
                  <a:lumMod val="75000"/>
                </a:sys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244" name="Oval 243"/>
            <p:cNvSpPr/>
            <p:nvPr/>
          </p:nvSpPr>
          <p:spPr bwMode="auto">
            <a:xfrm>
              <a:off x="4225098" y="2377743"/>
              <a:ext cx="426976" cy="384048"/>
            </a:xfrm>
            <a:prstGeom prst="ellipse">
              <a:avLst/>
            </a:prstGeom>
            <a:solidFill>
              <a:sysClr val="window" lastClr="FFFFFF"/>
            </a:solidFill>
            <a:ln w="12700" cap="sq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rPr>
                <a:t>32</a:t>
              </a: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4062921" y="2770050"/>
              <a:ext cx="751330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Phase 1:</a:t>
              </a: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 BEmONC</a:t>
              </a:r>
            </a:p>
          </p:txBody>
        </p:sp>
        <p:sp>
          <p:nvSpPr>
            <p:cNvPr id="246" name="Oval 245"/>
            <p:cNvSpPr/>
            <p:nvPr/>
          </p:nvSpPr>
          <p:spPr bwMode="auto">
            <a:xfrm>
              <a:off x="5203306" y="2377743"/>
              <a:ext cx="426976" cy="384048"/>
            </a:xfrm>
            <a:prstGeom prst="ellipse">
              <a:avLst/>
            </a:prstGeom>
            <a:solidFill>
              <a:sysClr val="window" lastClr="FFFFFF"/>
            </a:solidFill>
            <a:ln w="12700" cap="sq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rPr>
                <a:t>48</a:t>
              </a:r>
            </a:p>
          </p:txBody>
        </p:sp>
        <p:sp>
          <p:nvSpPr>
            <p:cNvPr id="247" name="TextBox 246"/>
            <p:cNvSpPr txBox="1"/>
            <p:nvPr/>
          </p:nvSpPr>
          <p:spPr>
            <a:xfrm>
              <a:off x="4801155" y="2767637"/>
              <a:ext cx="1141111" cy="48474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Phase 2:            </a:t>
              </a: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 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39 BEmONC &amp; 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9 CEmONC Centres</a:t>
              </a:r>
            </a:p>
          </p:txBody>
        </p:sp>
      </p:grpSp>
      <p:grpSp>
        <p:nvGrpSpPr>
          <p:cNvPr id="248" name="Group 247"/>
          <p:cNvGrpSpPr/>
          <p:nvPr/>
        </p:nvGrpSpPr>
        <p:grpSpPr>
          <a:xfrm>
            <a:off x="8235992" y="3968760"/>
            <a:ext cx="2583587" cy="1958189"/>
            <a:chOff x="5774311" y="1268069"/>
            <a:chExt cx="1937690" cy="1958189"/>
          </a:xfrm>
        </p:grpSpPr>
        <p:pic>
          <p:nvPicPr>
            <p:cNvPr id="249" name="Picture 15" descr="http://www.iconpng.com/png/medical-icons/nurs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6132" y="1268069"/>
              <a:ext cx="642107" cy="642107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0" name="TextBox 249"/>
            <p:cNvSpPr txBox="1"/>
            <p:nvPr/>
          </p:nvSpPr>
          <p:spPr>
            <a:xfrm>
              <a:off x="6080780" y="1988683"/>
              <a:ext cx="1492810" cy="16158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551 Nurses</a:t>
              </a:r>
            </a:p>
          </p:txBody>
        </p:sp>
        <p:sp>
          <p:nvSpPr>
            <p:cNvPr id="251" name="Oval 250"/>
            <p:cNvSpPr/>
            <p:nvPr/>
          </p:nvSpPr>
          <p:spPr bwMode="auto">
            <a:xfrm>
              <a:off x="6106543" y="2377743"/>
              <a:ext cx="435558" cy="384048"/>
            </a:xfrm>
            <a:prstGeom prst="ellipse">
              <a:avLst/>
            </a:prstGeom>
            <a:solidFill>
              <a:sysClr val="window" lastClr="FFFFFF"/>
            </a:solidFill>
            <a:ln w="12700" cap="sq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rPr>
                <a:t>207</a:t>
              </a:r>
            </a:p>
          </p:txBody>
        </p:sp>
        <p:sp>
          <p:nvSpPr>
            <p:cNvPr id="252" name="TextBox 251"/>
            <p:cNvSpPr txBox="1"/>
            <p:nvPr/>
          </p:nvSpPr>
          <p:spPr>
            <a:xfrm>
              <a:off x="5774311" y="2741510"/>
              <a:ext cx="1100022" cy="48474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Phase 1: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Grade A- 60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ANM- 147</a:t>
              </a:r>
            </a:p>
          </p:txBody>
        </p:sp>
        <p:sp>
          <p:nvSpPr>
            <p:cNvPr id="253" name="Oval 252"/>
            <p:cNvSpPr/>
            <p:nvPr/>
          </p:nvSpPr>
          <p:spPr bwMode="auto">
            <a:xfrm>
              <a:off x="7084751" y="2377743"/>
              <a:ext cx="435558" cy="384048"/>
            </a:xfrm>
            <a:prstGeom prst="ellipse">
              <a:avLst/>
            </a:prstGeom>
            <a:solidFill>
              <a:sysClr val="window" lastClr="FFFFFF"/>
            </a:solidFill>
            <a:ln w="12700" cap="sq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46800" tIns="45720" rIns="4680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0" fontAlgn="base" latinLnBrk="0" hangingPunct="0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</a:rPr>
                <a:t>380</a:t>
              </a: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6802892" y="2741510"/>
              <a:ext cx="909109" cy="48474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Phase 2: </a:t>
              </a: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Grade A-147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Times New Roman" pitchFamily="18" charset="0"/>
                </a:rPr>
                <a:t>ANM- 233</a:t>
              </a:r>
            </a:p>
          </p:txBody>
        </p:sp>
        <p:cxnSp>
          <p:nvCxnSpPr>
            <p:cNvPr id="255" name="Elbow Connector 254"/>
            <p:cNvCxnSpPr>
              <a:stCxn id="250" idx="2"/>
              <a:endCxn id="251" idx="0"/>
            </p:cNvCxnSpPr>
            <p:nvPr/>
          </p:nvCxnSpPr>
          <p:spPr bwMode="auto">
            <a:xfrm rot="5400000">
              <a:off x="6462016" y="2012573"/>
              <a:ext cx="227477" cy="502863"/>
            </a:xfrm>
            <a:prstGeom prst="bentConnector3">
              <a:avLst>
                <a:gd name="adj1" fmla="val 50000"/>
              </a:avLst>
            </a:prstGeom>
            <a:solidFill>
              <a:srgbClr val="4F81BD"/>
            </a:solidFill>
            <a:ln w="12700" cap="sq" cmpd="sng" algn="ctr">
              <a:solidFill>
                <a:sysClr val="window" lastClr="FFFFFF">
                  <a:lumMod val="75000"/>
                </a:sys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56" name="Elbow Connector 255"/>
            <p:cNvCxnSpPr>
              <a:stCxn id="250" idx="2"/>
              <a:endCxn id="253" idx="0"/>
            </p:cNvCxnSpPr>
            <p:nvPr/>
          </p:nvCxnSpPr>
          <p:spPr bwMode="auto">
            <a:xfrm rot="16200000" flipH="1">
              <a:off x="6951119" y="2026331"/>
              <a:ext cx="227477" cy="475345"/>
            </a:xfrm>
            <a:prstGeom prst="bentConnector3">
              <a:avLst>
                <a:gd name="adj1" fmla="val 50000"/>
              </a:avLst>
            </a:prstGeom>
            <a:solidFill>
              <a:srgbClr val="4F81BD"/>
            </a:solidFill>
            <a:ln w="12700" cap="sq" cmpd="sng" algn="ctr">
              <a:solidFill>
                <a:sysClr val="window" lastClr="FFFFFF">
                  <a:lumMod val="75000"/>
                </a:sysClr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0223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YePvo5QUGojq6tMXDT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CARE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 font sc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5">
              <a:lumMod val="75000"/>
            </a:scheme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lnSpc>
            <a:spcPct val="130000"/>
          </a:lnSpc>
          <a:defRPr sz="1200" dirty="0" smtClean="0">
            <a:latin typeface="Calibri" panose="020F0502020204030204" pitchFamily="34" charset="0"/>
          </a:defRPr>
        </a:defPPr>
      </a:lstStyle>
    </a:spDef>
    <a:lnDef>
      <a:spPr bwMode="auto">
        <a:solidFill>
          <a:schemeClr val="accent1"/>
        </a:solidFill>
        <a:ln w="12700" cap="sq" cmpd="sng" algn="ctr">
          <a:solidFill>
            <a:schemeClr val="bg1">
              <a:lumMod val="75000"/>
            </a:schemeClr>
          </a:solidFill>
          <a:prstDash val="solid"/>
          <a:round/>
          <a:headEnd type="none" w="sm" len="sm"/>
          <a:tailEnd type="triangl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285750" indent="-285750">
          <a:lnSpc>
            <a:spcPct val="130000"/>
          </a:lnSpc>
          <a:spcBef>
            <a:spcPts val="600"/>
          </a:spcBef>
          <a:buClr>
            <a:schemeClr val="accent5">
              <a:lumMod val="75000"/>
            </a:schemeClr>
          </a:buClr>
          <a:buFont typeface="Wingdings" pitchFamily="2" charset="2"/>
          <a:buChar char="§"/>
          <a:defRPr sz="1200" dirty="0" smtClean="0">
            <a:latin typeface="Calibri" panose="020F0502020204030204" pitchFamily="34" charset="0"/>
            <a:cs typeface="Times New Roman" pitchFamily="18" charset="0"/>
          </a:defRPr>
        </a:defPPr>
      </a:lstStyle>
    </a:txDef>
  </a:objectDefaults>
  <a:extraClrSchemeLst>
    <a:extraClrScheme>
      <a:clrScheme name="MEMC 2010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Reliance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 font sc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sq" cmpd="sng" algn="ctr">
          <a:solidFill>
            <a:schemeClr val="accent5">
              <a:lumMod val="75000"/>
            </a:schemeClr>
          </a:solidFill>
          <a:prstDash val="solid"/>
          <a:round/>
          <a:headEnd type="none" w="sm" len="sm"/>
          <a:tailEnd type="none" w="sm" len="sm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46800" tIns="45720" rIns="46800" bIns="45720" numCol="1" rtlCol="0" anchor="t" anchorCtr="0" compatLnSpc="1">
        <a:prstTxWarp prst="textNoShape">
          <a:avLst/>
        </a:prstTxWarp>
      </a:bodyPr>
      <a:lstStyle>
        <a:defPPr marL="0" marR="0" indent="0" defTabSz="914400" rtl="0" eaLnBrk="0" fontAlgn="base" latinLnBrk="0" hangingPunct="0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200" dirty="0" smtClean="0">
            <a:latin typeface="+mn-lt"/>
          </a:defRPr>
        </a:defPPr>
      </a:lstStyle>
    </a:spDef>
    <a:lnDef>
      <a:spPr bwMode="auto">
        <a:solidFill>
          <a:schemeClr val="accent1"/>
        </a:solidFill>
        <a:ln w="12700" cap="sq" cmpd="sng" algn="ctr">
          <a:solidFill>
            <a:schemeClr val="bg1">
              <a:lumMod val="75000"/>
            </a:schemeClr>
          </a:solidFill>
          <a:prstDash val="solid"/>
          <a:round/>
          <a:headEnd type="none" w="sm" len="sm"/>
          <a:tailEnd type="triangle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cs typeface="Times New Roman" pitchFamily="18" charset="0"/>
          </a:defRPr>
        </a:defPPr>
      </a:lstStyle>
    </a:txDef>
  </a:objectDefaults>
  <a:extraClrSchemeLst>
    <a:extraClrScheme>
      <a:clrScheme name="MEMC 2010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Reliance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 font sc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sq" cmpd="sng" algn="ctr">
          <a:solidFill>
            <a:schemeClr val="accent5">
              <a:lumMod val="75000"/>
            </a:schemeClr>
          </a:solidFill>
          <a:prstDash val="solid"/>
          <a:round/>
          <a:headEnd type="none" w="sm" len="sm"/>
          <a:tailEnd type="none" w="sm" len="sm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46800" tIns="45720" rIns="46800" bIns="45720" numCol="1" rtlCol="0" anchor="t" anchorCtr="0" compatLnSpc="1">
        <a:prstTxWarp prst="textNoShape">
          <a:avLst/>
        </a:prstTxWarp>
      </a:bodyPr>
      <a:lstStyle>
        <a:defPPr marL="0" marR="0" indent="0" defTabSz="914400" rtl="0" eaLnBrk="0" fontAlgn="base" latinLnBrk="0" hangingPunct="0">
          <a:lnSpc>
            <a:spcPct val="13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200" dirty="0" smtClean="0">
            <a:latin typeface="+mn-lt"/>
          </a:defRPr>
        </a:defPPr>
      </a:lstStyle>
    </a:spDef>
    <a:lnDef>
      <a:spPr bwMode="auto">
        <a:solidFill>
          <a:schemeClr val="accent1"/>
        </a:solidFill>
        <a:ln w="12700" cap="sq" cmpd="sng" algn="ctr">
          <a:solidFill>
            <a:schemeClr val="bg1">
              <a:lumMod val="75000"/>
            </a:schemeClr>
          </a:solidFill>
          <a:prstDash val="solid"/>
          <a:round/>
          <a:headEnd type="none" w="sm" len="sm"/>
          <a:tailEnd type="triangle"/>
        </a:ln>
        <a:effectLst/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cs typeface="Times New Roman" pitchFamily="18" charset="0"/>
          </a:defRPr>
        </a:defPPr>
      </a:lstStyle>
    </a:txDef>
  </a:objectDefaults>
  <a:extraClrSchemeLst>
    <a:extraClrScheme>
      <a:clrScheme name="MEMC 2010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9</TotalTime>
  <Words>963</Words>
  <Application>Microsoft Office PowerPoint</Application>
  <PresentationFormat>Widescreen</PresentationFormat>
  <Paragraphs>220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orbel</vt:lpstr>
      <vt:lpstr>Mangal</vt:lpstr>
      <vt:lpstr>Times New Roman</vt:lpstr>
      <vt:lpstr>Wingdings</vt:lpstr>
      <vt:lpstr>Foundation Master Slides</vt:lpstr>
      <vt:lpstr>1_CARE template</vt:lpstr>
      <vt:lpstr>1_Reliance template</vt:lpstr>
      <vt:lpstr>2_Reliance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meline</vt:lpstr>
      <vt:lpstr>PowerPoint Presentation</vt:lpstr>
      <vt:lpstr>PowerPoint Presentation</vt:lpstr>
      <vt:lpstr>Key Takeaways from the pilots were used to scale up the program</vt:lpstr>
      <vt:lpstr>PowerPoint Presentation</vt:lpstr>
      <vt:lpstr>Scale up pla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hwin Iyer</dc:creator>
  <cp:lastModifiedBy>Hemant Shah (Dr)</cp:lastModifiedBy>
  <cp:revision>176</cp:revision>
  <cp:lastPrinted>2015-06-24T09:29:01Z</cp:lastPrinted>
  <dcterms:created xsi:type="dcterms:W3CDTF">2015-06-23T09:43:18Z</dcterms:created>
  <dcterms:modified xsi:type="dcterms:W3CDTF">2015-07-03T07:55:52Z</dcterms:modified>
</cp:coreProperties>
</file>